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wmf" ContentType="image/x-wmf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3" r:id="rId3"/>
    <p:sldMasterId id="2147483662" r:id="rId4"/>
    <p:sldMasterId id="2147483670" r:id="rId5"/>
    <p:sldMasterId id="2147483675" r:id="rId6"/>
    <p:sldMasterId id="2147483680" r:id="rId7"/>
    <p:sldMasterId id="2147483722" r:id="rId8"/>
  </p:sldMasterIdLst>
  <p:notesMasterIdLst>
    <p:notesMasterId r:id="rId11"/>
  </p:notesMasterIdLst>
  <p:sldIdLst>
    <p:sldId id="304" r:id="rId9"/>
    <p:sldId id="7827" r:id="rId10"/>
    <p:sldId id="7829" r:id="rId12"/>
    <p:sldId id="7825" r:id="rId13"/>
    <p:sldId id="7787" r:id="rId14"/>
    <p:sldId id="7834" r:id="rId15"/>
    <p:sldId id="7786" r:id="rId16"/>
    <p:sldId id="7849" r:id="rId17"/>
    <p:sldId id="7823" r:id="rId18"/>
    <p:sldId id="7846" r:id="rId19"/>
    <p:sldId id="7847" r:id="rId20"/>
    <p:sldId id="7796" r:id="rId21"/>
    <p:sldId id="7798" r:id="rId22"/>
    <p:sldId id="7820" r:id="rId23"/>
    <p:sldId id="7884" r:id="rId24"/>
    <p:sldId id="7799" r:id="rId25"/>
    <p:sldId id="7800" r:id="rId26"/>
    <p:sldId id="7921" r:id="rId27"/>
    <p:sldId id="7920" r:id="rId28"/>
    <p:sldId id="7802" r:id="rId29"/>
    <p:sldId id="7803" r:id="rId30"/>
    <p:sldId id="7822" r:id="rId31"/>
    <p:sldId id="7915" r:id="rId32"/>
    <p:sldId id="7805" r:id="rId33"/>
    <p:sldId id="7843" r:id="rId34"/>
    <p:sldId id="7845" r:id="rId35"/>
    <p:sldId id="7850" r:id="rId36"/>
    <p:sldId id="7844" r:id="rId37"/>
    <p:sldId id="7809" r:id="rId38"/>
    <p:sldId id="7886" r:id="rId39"/>
    <p:sldId id="7918" r:id="rId40"/>
    <p:sldId id="7811" r:id="rId41"/>
    <p:sldId id="7813" r:id="rId42"/>
    <p:sldId id="7851" r:id="rId43"/>
    <p:sldId id="7919" r:id="rId44"/>
    <p:sldId id="7916" r:id="rId45"/>
    <p:sldId id="7815" r:id="rId46"/>
    <p:sldId id="7816" r:id="rId47"/>
    <p:sldId id="7852" r:id="rId48"/>
    <p:sldId id="7922" r:id="rId49"/>
    <p:sldId id="7923" r:id="rId50"/>
    <p:sldId id="7952" r:id="rId51"/>
    <p:sldId id="7855" r:id="rId52"/>
    <p:sldId id="7854" r:id="rId53"/>
    <p:sldId id="7926" r:id="rId54"/>
    <p:sldId id="7853" r:id="rId55"/>
    <p:sldId id="7839" r:id="rId56"/>
    <p:sldId id="7840" r:id="rId57"/>
  </p:sldIdLst>
  <p:sldSz cx="12192000" cy="6858000"/>
  <p:notesSz cx="6735445" cy="9865995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5A23"/>
    <a:srgbClr val="000000"/>
    <a:srgbClr val="FFFFFF"/>
    <a:srgbClr val="F3774B"/>
    <a:srgbClr val="FC6C1C"/>
    <a:srgbClr val="FECEAF"/>
    <a:srgbClr val="FFEBDF"/>
    <a:srgbClr val="FC5A04"/>
    <a:srgbClr val="5B9BD5"/>
    <a:srgbClr val="FCEA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4194" autoAdjust="0"/>
    <p:restoredTop sz="84896" autoAdjust="0"/>
  </p:normalViewPr>
  <p:slideViewPr>
    <p:cSldViewPr snapToGrid="0">
      <p:cViewPr varScale="1">
        <p:scale>
          <a:sx n="72" d="100"/>
          <a:sy n="72" d="100"/>
        </p:scale>
        <p:origin x="231" y="36"/>
      </p:cViewPr>
      <p:guideLst/>
    </p:cSldViewPr>
  </p:slideViewPr>
  <p:outlineViewPr>
    <p:cViewPr>
      <p:scale>
        <a:sx n="33" d="100"/>
        <a:sy n="33" d="100"/>
      </p:scale>
      <p:origin x="0" y="-132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379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1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0" Type="http://schemas.openxmlformats.org/officeDocument/2006/relationships/tableStyles" Target="tableStyles.xml"/><Relationship Id="rId6" Type="http://schemas.openxmlformats.org/officeDocument/2006/relationships/slideMaster" Target="slideMasters/slideMaster5.xml"/><Relationship Id="rId59" Type="http://schemas.openxmlformats.org/officeDocument/2006/relationships/viewProps" Target="viewProps.xml"/><Relationship Id="rId58" Type="http://schemas.openxmlformats.org/officeDocument/2006/relationships/presProps" Target="presProps.xml"/><Relationship Id="rId57" Type="http://schemas.openxmlformats.org/officeDocument/2006/relationships/slide" Target="slides/slide48.xml"/><Relationship Id="rId56" Type="http://schemas.openxmlformats.org/officeDocument/2006/relationships/slide" Target="slides/slide47.xml"/><Relationship Id="rId55" Type="http://schemas.openxmlformats.org/officeDocument/2006/relationships/slide" Target="slides/slide46.xml"/><Relationship Id="rId54" Type="http://schemas.openxmlformats.org/officeDocument/2006/relationships/slide" Target="slides/slide45.xml"/><Relationship Id="rId53" Type="http://schemas.openxmlformats.org/officeDocument/2006/relationships/slide" Target="slides/slide44.xml"/><Relationship Id="rId52" Type="http://schemas.openxmlformats.org/officeDocument/2006/relationships/slide" Target="slides/slide43.xml"/><Relationship Id="rId51" Type="http://schemas.openxmlformats.org/officeDocument/2006/relationships/slide" Target="slides/slide42.xml"/><Relationship Id="rId50" Type="http://schemas.openxmlformats.org/officeDocument/2006/relationships/slide" Target="slides/slide41.xml"/><Relationship Id="rId5" Type="http://schemas.openxmlformats.org/officeDocument/2006/relationships/slideMaster" Target="slideMasters/slideMaster4.xml"/><Relationship Id="rId49" Type="http://schemas.openxmlformats.org/officeDocument/2006/relationships/slide" Target="slides/slide40.xml"/><Relationship Id="rId48" Type="http://schemas.openxmlformats.org/officeDocument/2006/relationships/slide" Target="slides/slide39.xml"/><Relationship Id="rId47" Type="http://schemas.openxmlformats.org/officeDocument/2006/relationships/slide" Target="slides/slide38.xml"/><Relationship Id="rId46" Type="http://schemas.openxmlformats.org/officeDocument/2006/relationships/slide" Target="slides/slide37.xml"/><Relationship Id="rId45" Type="http://schemas.openxmlformats.org/officeDocument/2006/relationships/slide" Target="slides/slide36.xml"/><Relationship Id="rId44" Type="http://schemas.openxmlformats.org/officeDocument/2006/relationships/slide" Target="slides/slide35.xml"/><Relationship Id="rId43" Type="http://schemas.openxmlformats.org/officeDocument/2006/relationships/slide" Target="slides/slide34.xml"/><Relationship Id="rId42" Type="http://schemas.openxmlformats.org/officeDocument/2006/relationships/slide" Target="slides/slide33.xml"/><Relationship Id="rId41" Type="http://schemas.openxmlformats.org/officeDocument/2006/relationships/slide" Target="slides/slide32.xml"/><Relationship Id="rId40" Type="http://schemas.openxmlformats.org/officeDocument/2006/relationships/slide" Target="slides/slide31.xml"/><Relationship Id="rId4" Type="http://schemas.openxmlformats.org/officeDocument/2006/relationships/slideMaster" Target="slideMasters/slideMaster3.xml"/><Relationship Id="rId39" Type="http://schemas.openxmlformats.org/officeDocument/2006/relationships/slide" Target="slides/slide30.xml"/><Relationship Id="rId38" Type="http://schemas.openxmlformats.org/officeDocument/2006/relationships/slide" Target="slides/slide29.xml"/><Relationship Id="rId37" Type="http://schemas.openxmlformats.org/officeDocument/2006/relationships/slide" Target="slides/slide28.xml"/><Relationship Id="rId36" Type="http://schemas.openxmlformats.org/officeDocument/2006/relationships/slide" Target="slides/slide27.xml"/><Relationship Id="rId35" Type="http://schemas.openxmlformats.org/officeDocument/2006/relationships/slide" Target="slides/slide26.xml"/><Relationship Id="rId34" Type="http://schemas.openxmlformats.org/officeDocument/2006/relationships/slide" Target="slides/slide25.xml"/><Relationship Id="rId33" Type="http://schemas.openxmlformats.org/officeDocument/2006/relationships/slide" Target="slides/slide24.xml"/><Relationship Id="rId32" Type="http://schemas.openxmlformats.org/officeDocument/2006/relationships/slide" Target="slides/slide23.xml"/><Relationship Id="rId31" Type="http://schemas.openxmlformats.org/officeDocument/2006/relationships/slide" Target="slides/slide22.xml"/><Relationship Id="rId30" Type="http://schemas.openxmlformats.org/officeDocument/2006/relationships/slide" Target="slides/slide21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0.xml"/><Relationship Id="rId28" Type="http://schemas.openxmlformats.org/officeDocument/2006/relationships/slide" Target="slides/slide19.xml"/><Relationship Id="rId27" Type="http://schemas.openxmlformats.org/officeDocument/2006/relationships/slide" Target="slides/slide18.xml"/><Relationship Id="rId26" Type="http://schemas.openxmlformats.org/officeDocument/2006/relationships/slide" Target="slides/slide17.xml"/><Relationship Id="rId25" Type="http://schemas.openxmlformats.org/officeDocument/2006/relationships/slide" Target="slides/slide16.xml"/><Relationship Id="rId24" Type="http://schemas.openxmlformats.org/officeDocument/2006/relationships/slide" Target="slides/slide15.xml"/><Relationship Id="rId23" Type="http://schemas.openxmlformats.org/officeDocument/2006/relationships/slide" Target="slides/slide14.xml"/><Relationship Id="rId22" Type="http://schemas.openxmlformats.org/officeDocument/2006/relationships/slide" Target="slides/slide13.xml"/><Relationship Id="rId21" Type="http://schemas.openxmlformats.org/officeDocument/2006/relationships/slide" Target="slides/slide12.xml"/><Relationship Id="rId20" Type="http://schemas.openxmlformats.org/officeDocument/2006/relationships/slide" Target="slides/slide11.xml"/><Relationship Id="rId2" Type="http://schemas.openxmlformats.org/officeDocument/2006/relationships/theme" Target="theme/theme1.xml"/><Relationship Id="rId19" Type="http://schemas.openxmlformats.org/officeDocument/2006/relationships/slide" Target="slides/slide10.xml"/><Relationship Id="rId18" Type="http://schemas.openxmlformats.org/officeDocument/2006/relationships/slide" Target="slides/slide9.xml"/><Relationship Id="rId17" Type="http://schemas.openxmlformats.org/officeDocument/2006/relationships/slide" Target="slides/slide8.xml"/><Relationship Id="rId16" Type="http://schemas.openxmlformats.org/officeDocument/2006/relationships/slide" Target="slides/slide7.xml"/><Relationship Id="rId15" Type="http://schemas.openxmlformats.org/officeDocument/2006/relationships/slide" Target="slides/slide6.xml"/><Relationship Id="rId14" Type="http://schemas.openxmlformats.org/officeDocument/2006/relationships/slide" Target="slides/slide5.xml"/><Relationship Id="rId13" Type="http://schemas.openxmlformats.org/officeDocument/2006/relationships/slide" Target="slides/slide4.xml"/><Relationship Id="rId12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2" Type="http://schemas.openxmlformats.org/officeDocument/2006/relationships/image" Target="../media/image32.wmf"/><Relationship Id="rId1" Type="http://schemas.openxmlformats.org/officeDocument/2006/relationships/image" Target="../media/image3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88417-6737-4F20-A22D-5038F03E276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09FE43-54E4-4532-AB4E-D7044BDB6354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F9B2A1E-669E-456B-A33C-095540FA4F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F9B2A1E-669E-456B-A33C-095540FA4F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F9B2A1E-669E-456B-A33C-095540FA4F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70848c13-7681-44c3-be63-89952386c303.source.4.zh-Han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4BAF2A-B706-447D-B949-457F7B61B2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tags" Target="../tags/tag2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3" Type="http://schemas.microsoft.com/office/2007/relationships/hdphoto" Target="../media/image5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.vml"/><Relationship Id="rId5" Type="http://schemas.openxmlformats.org/officeDocument/2006/relationships/tags" Target="../tags/tag10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5.bin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6.vml"/><Relationship Id="rId6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3" Type="http://schemas.openxmlformats.org/officeDocument/2006/relationships/tags" Target="../tags/tag11.xml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3" Type="http://schemas.openxmlformats.org/officeDocument/2006/relationships/tags" Target="../tags/tag13.xml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8.vml"/><Relationship Id="rId5" Type="http://schemas.openxmlformats.org/officeDocument/2006/relationships/tags" Target="../tags/tag16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8.bin"/><Relationship Id="rId2" Type="http://schemas.openxmlformats.org/officeDocument/2006/relationships/tags" Target="../tags/tag15.xml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tags" Target="../tags/tag4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0.v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9.xml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image" Target="../media/image17.png"/><Relationship Id="rId5" Type="http://schemas.openxmlformats.org/officeDocument/2006/relationships/tags" Target="../tags/tag21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0.xml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2.vml"/><Relationship Id="rId8" Type="http://schemas.openxmlformats.org/officeDocument/2006/relationships/tags" Target="../tags/tag25.xml"/><Relationship Id="rId7" Type="http://schemas.openxmlformats.org/officeDocument/2006/relationships/oleObject" Target="../embeddings/oleObject13.bin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2.bin"/><Relationship Id="rId2" Type="http://schemas.openxmlformats.org/officeDocument/2006/relationships/tags" Target="../tags/tag22.xml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3.vml"/><Relationship Id="rId5" Type="http://schemas.openxmlformats.org/officeDocument/2006/relationships/image" Target="../media/image15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4.bin"/><Relationship Id="rId2" Type="http://schemas.openxmlformats.org/officeDocument/2006/relationships/tags" Target="../tags/tag26.xml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0.xml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6.vml"/><Relationship Id="rId6" Type="http://schemas.openxmlformats.org/officeDocument/2006/relationships/image" Target="../media/image17.png"/><Relationship Id="rId5" Type="http://schemas.openxmlformats.org/officeDocument/2006/relationships/tags" Target="../tags/tag32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8.bin"/><Relationship Id="rId2" Type="http://schemas.openxmlformats.org/officeDocument/2006/relationships/tags" Target="../tags/tag31.xml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7.vml"/><Relationship Id="rId8" Type="http://schemas.openxmlformats.org/officeDocument/2006/relationships/tags" Target="../tags/tag36.xml"/><Relationship Id="rId7" Type="http://schemas.openxmlformats.org/officeDocument/2006/relationships/oleObject" Target="../embeddings/oleObject20.bin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9.bin"/><Relationship Id="rId2" Type="http://schemas.openxmlformats.org/officeDocument/2006/relationships/tags" Target="../tags/tag33.xml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8.vml"/><Relationship Id="rId5" Type="http://schemas.openxmlformats.org/officeDocument/2006/relationships/image" Target="../media/image15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21.bin"/><Relationship Id="rId2" Type="http://schemas.openxmlformats.org/officeDocument/2006/relationships/tags" Target="../tags/tag37.xml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0.vml"/><Relationship Id="rId5" Type="http://schemas.openxmlformats.org/officeDocument/2006/relationships/tags" Target="../tags/tag42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4.bin"/><Relationship Id="rId2" Type="http://schemas.openxmlformats.org/officeDocument/2006/relationships/tags" Target="../tags/tag41.xml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1.vml"/><Relationship Id="rId5" Type="http://schemas.openxmlformats.org/officeDocument/2006/relationships/tags" Target="../tags/tag44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25.bin"/><Relationship Id="rId2" Type="http://schemas.openxmlformats.org/officeDocument/2006/relationships/tags" Target="../tags/tag43.xml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2.vml"/><Relationship Id="rId5" Type="http://schemas.openxmlformats.org/officeDocument/2006/relationships/tags" Target="../tags/tag46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6.bin"/><Relationship Id="rId2" Type="http://schemas.openxmlformats.org/officeDocument/2006/relationships/tags" Target="../tags/tag45.xml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3" Type="http://schemas.microsoft.com/office/2007/relationships/hdphoto" Target="../media/image5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.vml"/><Relationship Id="rId5" Type="http://schemas.openxmlformats.org/officeDocument/2006/relationships/tags" Target="../tags/tag6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3" Type="http://schemas.microsoft.com/office/2007/relationships/hdphoto" Target="../media/image5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image9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3.vml"/><Relationship Id="rId4" Type="http://schemas.openxmlformats.org/officeDocument/2006/relationships/image" Target="../media/image19.png"/><Relationship Id="rId3" Type="http://schemas.openxmlformats.org/officeDocument/2006/relationships/oleObject" Target="../embeddings/oleObject27.bin"/><Relationship Id="rId2" Type="http://schemas.openxmlformats.org/officeDocument/2006/relationships/tags" Target="../tags/tag47.xml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5.vml"/><Relationship Id="rId5" Type="http://schemas.openxmlformats.org/officeDocument/2006/relationships/tags" Target="../tags/tag51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9.bin"/><Relationship Id="rId2" Type="http://schemas.openxmlformats.org/officeDocument/2006/relationships/tags" Target="../tags/tag50.xml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6.vml"/><Relationship Id="rId5" Type="http://schemas.openxmlformats.org/officeDocument/2006/relationships/tags" Target="../tags/tag53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30.bin"/><Relationship Id="rId2" Type="http://schemas.openxmlformats.org/officeDocument/2006/relationships/tags" Target="../tags/tag52.xml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7.vml"/><Relationship Id="rId5" Type="http://schemas.openxmlformats.org/officeDocument/2006/relationships/tags" Target="../tags/tag55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1.bin"/><Relationship Id="rId2" Type="http://schemas.openxmlformats.org/officeDocument/2006/relationships/tags" Target="../tags/tag54.xml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3" Type="http://schemas.microsoft.com/office/2007/relationships/hdphoto" Target="../media/image5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0封面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/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16697" y="2155"/>
            <a:ext cx="11168799" cy="685080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"/>
          <a:stretch>
            <a:fillRect/>
          </a:stretch>
        </p:blipFill>
        <p:spPr>
          <a:xfrm>
            <a:off x="1045815" y="5038"/>
            <a:ext cx="11146185" cy="6852961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3252" y="3597"/>
            <a:ext cx="12185496" cy="6850806"/>
          </a:xfrm>
          <a:prstGeom prst="rect">
            <a:avLst/>
          </a:prstGeom>
          <a:gradFill flip="none" rotWithShape="1">
            <a:gsLst>
              <a:gs pos="15000">
                <a:srgbClr val="FDF1ED">
                  <a:alpha val="97647"/>
                </a:srgbClr>
              </a:gs>
              <a:gs pos="27000">
                <a:srgbClr val="FEF8F6">
                  <a:alpha val="86000"/>
                </a:srgbClr>
              </a:gs>
              <a:gs pos="56000">
                <a:schemeClr val="bg1">
                  <a:alpha val="86000"/>
                </a:schemeClr>
              </a:gs>
              <a:gs pos="0">
                <a:srgbClr val="FDEAE3"/>
              </a:gs>
              <a:gs pos="100000">
                <a:schemeClr val="bg1">
                  <a:alpha val="6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" name="任意多边形: 形状 12"/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741424" y="571834"/>
            <a:ext cx="2812005" cy="468667"/>
            <a:chOff x="660400" y="492126"/>
            <a:chExt cx="3257550" cy="542924"/>
          </a:xfrm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6" name="Freeform 6"/>
            <p:cNvSpPr/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7" name="Oval 7"/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0" name="Freeform 10"/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26" name="组合 25"/>
          <p:cNvGrpSpPr/>
          <p:nvPr userDrawn="1"/>
        </p:nvGrpSpPr>
        <p:grpSpPr>
          <a:xfrm>
            <a:off x="741424" y="4001310"/>
            <a:ext cx="5694681" cy="45719"/>
            <a:chOff x="777184" y="3817770"/>
            <a:chExt cx="5694681" cy="45719"/>
          </a:xfrm>
        </p:grpSpPr>
        <p:sp>
          <p:nvSpPr>
            <p:cNvPr id="27" name="矩形 26"/>
            <p:cNvSpPr/>
            <p:nvPr/>
          </p:nvSpPr>
          <p:spPr>
            <a:xfrm>
              <a:off x="777184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8" name="直接连接符 27"/>
            <p:cNvCxnSpPr/>
            <p:nvPr/>
          </p:nvCxnSpPr>
          <p:spPr>
            <a:xfrm>
              <a:off x="1606260" y="3837412"/>
              <a:ext cx="4865605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chemeClr val="accent1">
                      <a:lumMod val="45000"/>
                      <a:lumOff val="55000"/>
                    </a:schemeClr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任意多边形: 形状 29"/>
          <p:cNvSpPr/>
          <p:nvPr userDrawn="1"/>
        </p:nvSpPr>
        <p:spPr>
          <a:xfrm>
            <a:off x="6918699" y="3183037"/>
            <a:ext cx="3984653" cy="3682203"/>
          </a:xfrm>
          <a:custGeom>
            <a:avLst/>
            <a:gdLst>
              <a:gd name="connsiteX0" fmla="*/ 2696901 w 5266797"/>
              <a:gd name="connsiteY0" fmla="*/ 0 h 6875362"/>
              <a:gd name="connsiteX1" fmla="*/ 5266797 w 5266797"/>
              <a:gd name="connsiteY1" fmla="*/ 0 h 6875362"/>
              <a:gd name="connsiteX2" fmla="*/ 5266797 w 5266797"/>
              <a:gd name="connsiteY2" fmla="*/ 1408772 h 6875362"/>
              <a:gd name="connsiteX3" fmla="*/ 3126080 w 5266797"/>
              <a:gd name="connsiteY3" fmla="*/ 6866222 h 6875362"/>
              <a:gd name="connsiteX4" fmla="*/ 0 w 5266797"/>
              <a:gd name="connsiteY4" fmla="*/ 6875362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6797" h="6875362">
                <a:moveTo>
                  <a:pt x="2696901" y="0"/>
                </a:moveTo>
                <a:lnTo>
                  <a:pt x="5266797" y="0"/>
                </a:lnTo>
                <a:lnTo>
                  <a:pt x="5266797" y="1408772"/>
                </a:lnTo>
                <a:lnTo>
                  <a:pt x="3126080" y="6866222"/>
                </a:lnTo>
                <a:lnTo>
                  <a:pt x="0" y="6875362"/>
                </a:lnTo>
                <a:close/>
              </a:path>
            </a:pathLst>
          </a:custGeom>
          <a:gradFill flip="none" rotWithShape="1">
            <a:gsLst>
              <a:gs pos="32000">
                <a:srgbClr val="FE832C"/>
              </a:gs>
              <a:gs pos="88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2" name="文本占位符 31"/>
          <p:cNvSpPr>
            <a:spLocks noGrp="1"/>
          </p:cNvSpPr>
          <p:nvPr>
            <p:ph type="body" sz="quarter" idx="10"/>
          </p:nvPr>
        </p:nvSpPr>
        <p:spPr>
          <a:xfrm>
            <a:off x="639824" y="1904099"/>
            <a:ext cx="6449229" cy="185187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 defTabSz="914400" rtl="0" eaLnBrk="1" latinLnBrk="0" hangingPunct="1">
              <a:buNone/>
              <a:defRPr lang="zh-CN" altLang="en-US" sz="4800" b="1" kern="2300" spc="240" dirty="0" smtClean="0">
                <a:ln w="15875">
                  <a:solidFill>
                    <a:schemeClr val="accent1"/>
                  </a:solidFill>
                </a:ln>
                <a:noFill/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lang="en-US" altLang="zh-CN" dirty="0"/>
          </a:p>
        </p:txBody>
      </p:sp>
      <p:sp>
        <p:nvSpPr>
          <p:cNvPr id="23" name="文本占位符 5"/>
          <p:cNvSpPr txBox="1"/>
          <p:nvPr userDrawn="1"/>
        </p:nvSpPr>
        <p:spPr>
          <a:xfrm>
            <a:off x="667674" y="4385323"/>
            <a:ext cx="3962401" cy="2522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0" dirty="0">
                <a:solidFill>
                  <a:srgbClr val="8F8F8F"/>
                </a:solidFill>
              </a:rPr>
              <a:t>www.pingan</a:t>
            </a:r>
            <a:r>
              <a:rPr lang="en-US" altLang="zh-CN" b="0">
                <a:solidFill>
                  <a:srgbClr val="8F8F8F"/>
                </a:solidFill>
              </a:rPr>
              <a:t>.cn </a:t>
            </a:r>
            <a:endParaRPr lang="en-US" altLang="zh-CN" b="0" dirty="0">
              <a:solidFill>
                <a:srgbClr val="8F8F8F"/>
              </a:solidFill>
            </a:endParaRPr>
          </a:p>
        </p:txBody>
      </p:sp>
      <p:sp>
        <p:nvSpPr>
          <p:cNvPr id="24" name="文本框 23"/>
          <p:cNvSpPr txBox="1"/>
          <p:nvPr userDrawn="1"/>
        </p:nvSpPr>
        <p:spPr>
          <a:xfrm>
            <a:off x="634599" y="4203138"/>
            <a:ext cx="4051702" cy="252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  <a:spcBef>
                <a:spcPts val="1000"/>
              </a:spcBef>
            </a:pPr>
            <a:r>
              <a:rPr lang="zh-CN" altLang="en-US" sz="1400" kern="800" spc="3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</a:rPr>
              <a:t>专业，让生活更简单</a:t>
            </a:r>
            <a:endParaRPr lang="zh-CN" altLang="en-US" sz="1400" kern="800" spc="30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</a:endParaRPr>
          </a:p>
        </p:txBody>
      </p:sp>
      <p:pic>
        <p:nvPicPr>
          <p:cNvPr id="25" name="图片 24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flipH="1">
            <a:off x="6229392" y="1300480"/>
            <a:ext cx="5962607" cy="55575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1082839" y="654527"/>
            <a:ext cx="2160632" cy="1898542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171507" y="824671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5"/>
          <p:cNvSpPr>
            <a:spLocks noGrp="1"/>
          </p:cNvSpPr>
          <p:nvPr>
            <p:ph type="title" hasCustomPrompt="1"/>
          </p:nvPr>
        </p:nvSpPr>
        <p:spPr>
          <a:xfrm>
            <a:off x="171507" y="103259"/>
            <a:ext cx="11822373" cy="53744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zh-CN" altLang="en-US" dirty="0"/>
              <a:t>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0"/>
            <a:ext cx="12192000" cy="6850506"/>
          </a:xfrm>
          <a:prstGeom prst="rect">
            <a:avLst/>
          </a:prstGeom>
        </p:spPr>
      </p:pic>
      <p:sp>
        <p:nvSpPr>
          <p:cNvPr id="24" name="Rectangle 2"/>
          <p:cNvSpPr/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95000">
                <a:schemeClr val="accent1">
                  <a:lumMod val="0"/>
                  <a:lumOff val="100000"/>
                  <a:alpha val="0"/>
                </a:schemeClr>
              </a:gs>
              <a:gs pos="44000">
                <a:schemeClr val="accent2">
                  <a:alpha val="80000"/>
                </a:schemeClr>
              </a:gs>
              <a:gs pos="0">
                <a:schemeClr val="accent1">
                  <a:alpha val="80000"/>
                </a:schemeClr>
              </a:gs>
            </a:gsLst>
            <a:lin ang="10800000" scaled="1"/>
            <a:tileRect/>
          </a:gradFill>
          <a:ln>
            <a:noFill/>
          </a:ln>
        </p:spPr>
        <p:txBody>
          <a:bodyPr lIns="0" tIns="0" rIns="0" bIns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435184" y="3212976"/>
            <a:ext cx="7567612" cy="108012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此处编辑标题</a:t>
            </a:r>
            <a:endParaRPr lang="zh-CN" altLang="en-US" dirty="0"/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1" hasCustomPrompt="1"/>
          </p:nvPr>
        </p:nvSpPr>
        <p:spPr>
          <a:xfrm>
            <a:off x="435184" y="4444190"/>
            <a:ext cx="7567612" cy="78501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此处编辑副标题</a:t>
            </a:r>
            <a:endParaRPr lang="zh-CN" altLang="en-US" dirty="0"/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300883" y="6381684"/>
            <a:ext cx="2743200" cy="365125"/>
          </a:xfrm>
        </p:spPr>
        <p:txBody>
          <a:bodyPr/>
          <a:lstStyle>
            <a:lvl1pPr algn="r">
              <a:defRPr sz="1600"/>
            </a:lvl1pPr>
          </a:lstStyle>
          <a:p>
            <a:fld id="{D174682D-7201-4549-AB46-A3B3CC68F05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4" name="Rectangle 2"/>
          <p:cNvSpPr/>
          <p:nvPr userDrawn="1"/>
        </p:nvSpPr>
        <p:spPr bwMode="auto">
          <a:xfrm flipH="1">
            <a:off x="4493" y="2451820"/>
            <a:ext cx="12190413" cy="1985292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4495" y="2970699"/>
            <a:ext cx="12190413" cy="9475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/>
              <a:t>谢谢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 descr="1321321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" t="-11413" r="28311" b="-8087"/>
          <a:stretch>
            <a:fillRect/>
          </a:stretch>
        </p:blipFill>
        <p:spPr bwMode="auto">
          <a:xfrm>
            <a:off x="-2" y="6537324"/>
            <a:ext cx="12192001" cy="335915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0000"/>
              </a:schemeClr>
            </a:glow>
            <a:outerShdw blurRad="50800" dist="50800" dir="5400000" algn="ctr" rotWithShape="0">
              <a:srgbClr val="000000">
                <a:alpha val="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标题 1"/>
          <p:cNvSpPr txBox="1"/>
          <p:nvPr userDrawn="1"/>
        </p:nvSpPr>
        <p:spPr>
          <a:xfrm>
            <a:off x="335360" y="241511"/>
            <a:ext cx="11390032" cy="431136"/>
          </a:xfrm>
          <a:prstGeom prst="rect">
            <a:avLst/>
          </a:prstGeom>
        </p:spPr>
        <p:txBody>
          <a:bodyPr lIns="0" rIns="47997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+mj-lt"/>
                <a:ea typeface="华文楷体" panose="02010600040101010101" pitchFamily="2" charset="-122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609600" algn="ctr" rtl="0" fontAlgn="base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1219200" algn="ctr" rtl="0" fontAlgn="base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828800" algn="ctr" rtl="0" fontAlgn="base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2438400" algn="ctr" rtl="0" fontAlgn="base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j-cs"/>
            </a:endParaRPr>
          </a:p>
        </p:txBody>
      </p:sp>
      <p:sp>
        <p:nvSpPr>
          <p:cNvPr id="8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9342967" y="653485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pPr algn="r">
              <a:defRPr/>
            </a:pPr>
            <a:r>
              <a:rPr lang="zh-CN" altLang="en-US"/>
              <a:t>第</a:t>
            </a:r>
            <a:fld id="{05D54425-7CA0-47B8-BF13-C0F370DB0253}" type="slidenum">
              <a:rPr lang="zh-CN" altLang="en-US" smtClean="0"/>
            </a:fld>
            <a:r>
              <a:rPr lang="zh-CN" altLang="en-US"/>
              <a:t>页</a:t>
            </a:r>
            <a:endParaRPr lang="zh-CN" altLang="en-US" dirty="0"/>
          </a:p>
        </p:txBody>
      </p:sp>
      <p:pic>
        <p:nvPicPr>
          <p:cNvPr id="9" name="Picture 21" descr="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25" y="6644961"/>
            <a:ext cx="1387290" cy="127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791727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  <p:sp>
        <p:nvSpPr>
          <p:cNvPr id="6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4453048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  <p:sp>
        <p:nvSpPr>
          <p:cNvPr id="7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8114371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DD3DB80-B894-403A-B48E-6FDC1A72010E}" type="slidenum">
              <a:rPr lang="zh-CN" altLang="en-US" sz="1200" b="1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  <a:ea typeface="微软雅黑" panose="020B0503020204020204" charset="-122"/>
              </a:rPr>
            </a:fld>
            <a:endParaRPr lang="zh-CN" altLang="en-US" sz="1200" b="1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171507" y="1028700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5"/>
          <p:cNvSpPr>
            <a:spLocks noGrp="1"/>
          </p:cNvSpPr>
          <p:nvPr>
            <p:ph type="title" hasCustomPrompt="1"/>
          </p:nvPr>
        </p:nvSpPr>
        <p:spPr>
          <a:xfrm>
            <a:off x="171507" y="121920"/>
            <a:ext cx="11822373" cy="84582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zh-CN" altLang="en-US" dirty="0"/>
              <a:t>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/>
          <p:cNvSpPr/>
          <p:nvPr/>
        </p:nvSpPr>
        <p:spPr>
          <a:xfrm>
            <a:off x="0" y="0"/>
            <a:ext cx="129309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5" cstate="email"/>
          <a:srcRect r="6177"/>
          <a:stretch>
            <a:fillRect/>
          </a:stretch>
        </p:blipFill>
        <p:spPr bwMode="auto">
          <a:xfrm>
            <a:off x="295564" y="0"/>
            <a:ext cx="11896436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tangle 20"/>
          <p:cNvSpPr/>
          <p:nvPr/>
        </p:nvSpPr>
        <p:spPr bwMode="black">
          <a:xfrm>
            <a:off x="115021" y="2004291"/>
            <a:ext cx="9415624" cy="2292405"/>
          </a:xfrm>
          <a:prstGeom prst="rect">
            <a:avLst/>
          </a:prstGeom>
          <a:solidFill>
            <a:srgbClr val="EA540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305368" y="6207842"/>
            <a:ext cx="4681760" cy="327148"/>
          </a:xfrm>
          <a:prstGeom prst="rect">
            <a:avLst/>
          </a:prstGeom>
          <a:noFill/>
        </p:spPr>
        <p:txBody>
          <a:bodyPr anchor="ctr"/>
          <a:lstStyle>
            <a:lvl1pPr algn="r">
              <a:lnSpc>
                <a:spcPct val="110000"/>
              </a:lnSpc>
              <a:buNone/>
              <a:defRPr sz="1600" b="1" cap="all" baseline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3834054"/>
            <a:ext cx="760790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2000" b="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  <a:endParaRPr lang="en-US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257799"/>
            <a:ext cx="7607902" cy="1431161"/>
          </a:xfrm>
          <a:prstGeom prst="rect">
            <a:avLst/>
          </a:prstGeom>
        </p:spPr>
        <p:txBody>
          <a:bodyPr vert="horz" wrap="square" anchor="ctr">
            <a:noAutofit/>
          </a:bodyPr>
          <a:lstStyle>
            <a:lvl1pPr algn="l">
              <a:lnSpc>
                <a:spcPct val="93000"/>
              </a:lnSpc>
              <a:defRPr sz="5000" b="1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altLang="zh-CN" dirty="0"/>
              <a:t>Title in Title Case</a:t>
            </a:r>
            <a:endParaRPr lang="en-US" dirty="0"/>
          </a:p>
        </p:txBody>
      </p:sp>
      <p:grpSp>
        <p:nvGrpSpPr>
          <p:cNvPr id="16" name="组合 15"/>
          <p:cNvGrpSpPr>
            <a:grpSpLocks noChangeAspect="1"/>
          </p:cNvGrpSpPr>
          <p:nvPr/>
        </p:nvGrpSpPr>
        <p:grpSpPr>
          <a:xfrm>
            <a:off x="652637" y="297259"/>
            <a:ext cx="1150838" cy="432048"/>
            <a:chOff x="13103547" y="829734"/>
            <a:chExt cx="2203232" cy="827288"/>
          </a:xfrm>
        </p:grpSpPr>
        <p:pic>
          <p:nvPicPr>
            <p:cNvPr id="17" name="图片 16"/>
            <p:cNvPicPr>
              <a:picLocks noChangeAspect="1"/>
            </p:cNvPicPr>
            <p:nvPr/>
          </p:nvPicPr>
          <p:blipFill>
            <a:blip r:embed="rId6" cstate="email"/>
            <a:stretch>
              <a:fillRect/>
            </a:stretch>
          </p:blipFill>
          <p:spPr>
            <a:xfrm>
              <a:off x="13586494" y="885667"/>
              <a:ext cx="1720285" cy="720000"/>
            </a:xfrm>
            <a:prstGeom prst="rect">
              <a:avLst/>
            </a:prstGeom>
          </p:spPr>
        </p:pic>
        <p:grpSp>
          <p:nvGrpSpPr>
            <p:cNvPr id="19" name="组合 18"/>
            <p:cNvGrpSpPr/>
            <p:nvPr userDrawn="1"/>
          </p:nvGrpSpPr>
          <p:grpSpPr>
            <a:xfrm>
              <a:off x="13103547" y="829734"/>
              <a:ext cx="171450" cy="827288"/>
              <a:chOff x="12841961" y="829734"/>
              <a:chExt cx="171450" cy="827288"/>
            </a:xfrm>
          </p:grpSpPr>
          <p:cxnSp>
            <p:nvCxnSpPr>
              <p:cNvPr id="28" name="直接连接符 27"/>
              <p:cNvCxnSpPr/>
              <p:nvPr userDrawn="1"/>
            </p:nvCxnSpPr>
            <p:spPr>
              <a:xfrm>
                <a:off x="12841961" y="829734"/>
                <a:ext cx="0" cy="827288"/>
              </a:xfrm>
              <a:prstGeom prst="line">
                <a:avLst/>
              </a:prstGeom>
              <a:ln w="5715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/>
              <p:nvPr userDrawn="1"/>
            </p:nvCxnSpPr>
            <p:spPr>
              <a:xfrm>
                <a:off x="13013411" y="829734"/>
                <a:ext cx="0" cy="827288"/>
              </a:xfrm>
              <a:prstGeom prst="line">
                <a:avLst/>
              </a:prstGeom>
              <a:ln w="2540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5" name="直接连接符 4"/>
          <p:cNvCxnSpPr/>
          <p:nvPr/>
        </p:nvCxnSpPr>
        <p:spPr>
          <a:xfrm>
            <a:off x="953729" y="3762866"/>
            <a:ext cx="860322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203200" y="0"/>
            <a:ext cx="0" cy="6858000"/>
          </a:xfrm>
          <a:prstGeom prst="line">
            <a:avLst/>
          </a:prstGeom>
          <a:ln w="9525" cap="rnd">
            <a:solidFill>
              <a:schemeClr val="accent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genda </a:t>
            </a:r>
            <a:r>
              <a:rPr lang="en-US" altLang="zh-CN" dirty="0"/>
              <a:t>page</a:t>
            </a:r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6" cstate="email"/>
          <a:srcRect r="570"/>
          <a:stretch>
            <a:fillRect/>
          </a:stretch>
        </p:blipFill>
        <p:spPr>
          <a:xfrm>
            <a:off x="0" y="1260057"/>
            <a:ext cx="12192000" cy="4876049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7" imgW="12700" imgH="12700" progId="TCLayout.ActiveDocument.1">
                  <p:embed/>
                </p:oleObj>
              </mc:Choice>
              <mc:Fallback>
                <p:oleObj name="think-cell 幻灯片" r:id="rId7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8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-2377" y="2383"/>
            <a:ext cx="12194377" cy="6852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矩形 2"/>
          <p:cNvSpPr/>
          <p:nvPr/>
        </p:nvSpPr>
        <p:spPr>
          <a:xfrm>
            <a:off x="-3174" y="2287437"/>
            <a:ext cx="12195173" cy="2282287"/>
          </a:xfrm>
          <a:prstGeom prst="rect">
            <a:avLst/>
          </a:prstGeom>
          <a:solidFill>
            <a:schemeClr val="accent1">
              <a:lumMod val="75000"/>
              <a:alpha val="85098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2215356" y="2457030"/>
            <a:ext cx="7758113" cy="1943100"/>
          </a:xfrm>
        </p:spPr>
        <p:txBody>
          <a:bodyPr anchor="ctr"/>
          <a:lstStyle>
            <a:lvl1pPr algn="ctr">
              <a:defRPr sz="4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altLang="zh-CN" dirty="0"/>
              <a:t>Click to add content</a:t>
            </a:r>
            <a:endParaRPr lang="zh-CN" altLang="en-US" dirty="0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-3174" y="4643437"/>
            <a:ext cx="12195173" cy="0"/>
          </a:xfrm>
          <a:prstGeom prst="line">
            <a:avLst/>
          </a:prstGeom>
          <a:ln w="9525" cap="rnd">
            <a:solidFill>
              <a:schemeClr val="accent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/>
          <p:cNvSpPr/>
          <p:nvPr/>
        </p:nvSpPr>
        <p:spPr>
          <a:xfrm>
            <a:off x="0" y="0"/>
            <a:ext cx="129309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5" cstate="email"/>
          <a:srcRect r="6177"/>
          <a:stretch>
            <a:fillRect/>
          </a:stretch>
        </p:blipFill>
        <p:spPr bwMode="auto">
          <a:xfrm>
            <a:off x="295564" y="0"/>
            <a:ext cx="11896436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tangle 20"/>
          <p:cNvSpPr/>
          <p:nvPr/>
        </p:nvSpPr>
        <p:spPr bwMode="black">
          <a:xfrm>
            <a:off x="115021" y="2004291"/>
            <a:ext cx="9415624" cy="2292405"/>
          </a:xfrm>
          <a:prstGeom prst="rect">
            <a:avLst/>
          </a:prstGeom>
          <a:solidFill>
            <a:srgbClr val="EA540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305368" y="6207842"/>
            <a:ext cx="4681760" cy="327148"/>
          </a:xfrm>
          <a:prstGeom prst="rect">
            <a:avLst/>
          </a:prstGeom>
          <a:noFill/>
        </p:spPr>
        <p:txBody>
          <a:bodyPr anchor="ctr"/>
          <a:lstStyle>
            <a:lvl1pPr algn="r">
              <a:lnSpc>
                <a:spcPct val="110000"/>
              </a:lnSpc>
              <a:buNone/>
              <a:defRPr sz="1600" b="1" cap="all" baseline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3834054"/>
            <a:ext cx="760790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2000" b="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  <a:endParaRPr lang="en-US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257799"/>
            <a:ext cx="7607902" cy="1431161"/>
          </a:xfrm>
          <a:prstGeom prst="rect">
            <a:avLst/>
          </a:prstGeom>
        </p:spPr>
        <p:txBody>
          <a:bodyPr vert="horz" wrap="square" anchor="ctr">
            <a:noAutofit/>
          </a:bodyPr>
          <a:lstStyle>
            <a:lvl1pPr algn="l">
              <a:lnSpc>
                <a:spcPct val="93000"/>
              </a:lnSpc>
              <a:defRPr sz="5000" b="1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altLang="zh-CN" dirty="0"/>
              <a:t>Title in Title Case</a:t>
            </a:r>
            <a:endParaRPr lang="en-US" dirty="0"/>
          </a:p>
        </p:txBody>
      </p:sp>
      <p:grpSp>
        <p:nvGrpSpPr>
          <p:cNvPr id="16" name="组合 15"/>
          <p:cNvGrpSpPr>
            <a:grpSpLocks noChangeAspect="1"/>
          </p:cNvGrpSpPr>
          <p:nvPr/>
        </p:nvGrpSpPr>
        <p:grpSpPr>
          <a:xfrm>
            <a:off x="652637" y="297259"/>
            <a:ext cx="1150838" cy="432048"/>
            <a:chOff x="13103547" y="829734"/>
            <a:chExt cx="2203232" cy="827288"/>
          </a:xfrm>
        </p:grpSpPr>
        <p:pic>
          <p:nvPicPr>
            <p:cNvPr id="17" name="图片 16"/>
            <p:cNvPicPr>
              <a:picLocks noChangeAspect="1"/>
            </p:cNvPicPr>
            <p:nvPr/>
          </p:nvPicPr>
          <p:blipFill>
            <a:blip r:embed="rId6" cstate="email"/>
            <a:stretch>
              <a:fillRect/>
            </a:stretch>
          </p:blipFill>
          <p:spPr>
            <a:xfrm>
              <a:off x="13586494" y="885667"/>
              <a:ext cx="1720285" cy="720000"/>
            </a:xfrm>
            <a:prstGeom prst="rect">
              <a:avLst/>
            </a:prstGeom>
          </p:spPr>
        </p:pic>
        <p:grpSp>
          <p:nvGrpSpPr>
            <p:cNvPr id="19" name="组合 18"/>
            <p:cNvGrpSpPr/>
            <p:nvPr userDrawn="1"/>
          </p:nvGrpSpPr>
          <p:grpSpPr>
            <a:xfrm>
              <a:off x="13103547" y="829734"/>
              <a:ext cx="171450" cy="827288"/>
              <a:chOff x="12841961" y="829734"/>
              <a:chExt cx="171450" cy="827288"/>
            </a:xfrm>
          </p:grpSpPr>
          <p:cxnSp>
            <p:nvCxnSpPr>
              <p:cNvPr id="28" name="直接连接符 27"/>
              <p:cNvCxnSpPr/>
              <p:nvPr userDrawn="1"/>
            </p:nvCxnSpPr>
            <p:spPr>
              <a:xfrm>
                <a:off x="12841961" y="829734"/>
                <a:ext cx="0" cy="827288"/>
              </a:xfrm>
              <a:prstGeom prst="line">
                <a:avLst/>
              </a:prstGeom>
              <a:ln w="5715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/>
              <p:nvPr userDrawn="1"/>
            </p:nvCxnSpPr>
            <p:spPr>
              <a:xfrm>
                <a:off x="13013411" y="829734"/>
                <a:ext cx="0" cy="827288"/>
              </a:xfrm>
              <a:prstGeom prst="line">
                <a:avLst/>
              </a:prstGeom>
              <a:ln w="2540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5" name="直接连接符 4"/>
          <p:cNvCxnSpPr/>
          <p:nvPr/>
        </p:nvCxnSpPr>
        <p:spPr>
          <a:xfrm>
            <a:off x="953729" y="3762866"/>
            <a:ext cx="860322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203200" y="0"/>
            <a:ext cx="0" cy="6858000"/>
          </a:xfrm>
          <a:prstGeom prst="line">
            <a:avLst/>
          </a:prstGeom>
          <a:ln w="9525" cap="rnd">
            <a:solidFill>
              <a:schemeClr val="accent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genda </a:t>
            </a:r>
            <a:r>
              <a:rPr lang="en-US" altLang="zh-CN" dirty="0"/>
              <a:t>page</a:t>
            </a:r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6" cstate="email"/>
          <a:srcRect r="570"/>
          <a:stretch>
            <a:fillRect/>
          </a:stretch>
        </p:blipFill>
        <p:spPr>
          <a:xfrm>
            <a:off x="0" y="1260057"/>
            <a:ext cx="12192000" cy="4876049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7" imgW="12700" imgH="12700" progId="TCLayout.ActiveDocument.1">
                  <p:embed/>
                </p:oleObj>
              </mc:Choice>
              <mc:Fallback>
                <p:oleObj name="think-cell 幻灯片" r:id="rId7" imgW="12700" imgH="12700" progId="TCLayout.ActiveDocument.1">
                  <p:embed/>
                  <p:pic>
                    <p:nvPicPr>
                      <p:cNvPr id="0" name="对象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8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-2377" y="2383"/>
            <a:ext cx="12194377" cy="6852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矩形 2"/>
          <p:cNvSpPr/>
          <p:nvPr/>
        </p:nvSpPr>
        <p:spPr>
          <a:xfrm>
            <a:off x="-3174" y="2287437"/>
            <a:ext cx="12195173" cy="2282287"/>
          </a:xfrm>
          <a:prstGeom prst="rect">
            <a:avLst/>
          </a:prstGeom>
          <a:solidFill>
            <a:schemeClr val="accent1">
              <a:lumMod val="75000"/>
              <a:alpha val="85098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2215356" y="2457030"/>
            <a:ext cx="7758113" cy="1943100"/>
          </a:xfrm>
        </p:spPr>
        <p:txBody>
          <a:bodyPr anchor="ctr"/>
          <a:lstStyle>
            <a:lvl1pPr algn="ctr">
              <a:defRPr sz="4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altLang="zh-CN" dirty="0"/>
              <a:t>Click to add content</a:t>
            </a:r>
            <a:endParaRPr lang="zh-CN" altLang="en-US" dirty="0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-3174" y="4643437"/>
            <a:ext cx="12195173" cy="0"/>
          </a:xfrm>
          <a:prstGeom prst="line">
            <a:avLst/>
          </a:prstGeom>
          <a:ln w="9525" cap="rnd">
            <a:solidFill>
              <a:schemeClr val="accent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0封面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/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171507" y="1028700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171507" y="824671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5"/>
          <p:cNvSpPr>
            <a:spLocks noGrp="1"/>
          </p:cNvSpPr>
          <p:nvPr>
            <p:ph type="title" hasCustomPrompt="1"/>
          </p:nvPr>
        </p:nvSpPr>
        <p:spPr>
          <a:xfrm>
            <a:off x="171507" y="103259"/>
            <a:ext cx="11822373" cy="53744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zh-CN" altLang="en-US" dirty="0"/>
              <a:t>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72d2fdfb8da93606a4b836a6cf30fcbf570dc6d9178c0b-ai3vDw.jpeg" descr="72d2fdfb8da93606a4b836a6cf30fcbf570dc6d9178c0b-ai3vDw.jpeg"/>
          <p:cNvPicPr>
            <a:picLocks noChangeAspect="1"/>
          </p:cNvPicPr>
          <p:nvPr userDrawn="1"/>
        </p:nvPicPr>
        <p:blipFill rotWithShape="1">
          <a:blip r:embed="rId2"/>
          <a:srcRect b="4492"/>
          <a:stretch>
            <a:fillRect/>
          </a:stretch>
        </p:blipFill>
        <p:spPr>
          <a:xfrm>
            <a:off x="0" y="1"/>
            <a:ext cx="12231566" cy="6858000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6" name="矩形"/>
          <p:cNvSpPr/>
          <p:nvPr userDrawn="1"/>
        </p:nvSpPr>
        <p:spPr>
          <a:xfrm>
            <a:off x="0" y="10581"/>
            <a:ext cx="12231566" cy="6847420"/>
          </a:xfrm>
          <a:prstGeom prst="rect">
            <a:avLst/>
          </a:prstGeom>
          <a:solidFill>
            <a:srgbClr val="000000">
              <a:alpha val="30174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sym typeface="等线" panose="02010600030101010101" charset="-122"/>
            </a:endParaRPr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72d2fdfb8da93606a4b836a6cf30fcbf570dc6d9178c0b-ai3vDw.jpeg" descr="72d2fdfb8da93606a4b836a6cf30fcbf570dc6d9178c0b-ai3vDw.jpeg"/>
          <p:cNvPicPr>
            <a:picLocks noChangeAspect="1"/>
          </p:cNvPicPr>
          <p:nvPr userDrawn="1"/>
        </p:nvPicPr>
        <p:blipFill rotWithShape="1">
          <a:blip r:embed="rId2"/>
          <a:srcRect b="4492"/>
          <a:stretch>
            <a:fillRect/>
          </a:stretch>
        </p:blipFill>
        <p:spPr>
          <a:xfrm>
            <a:off x="0" y="1"/>
            <a:ext cx="12231566" cy="6858000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6" name="矩形"/>
          <p:cNvSpPr/>
          <p:nvPr userDrawn="1"/>
        </p:nvSpPr>
        <p:spPr>
          <a:xfrm>
            <a:off x="0" y="10581"/>
            <a:ext cx="12231566" cy="6847420"/>
          </a:xfrm>
          <a:prstGeom prst="rect">
            <a:avLst/>
          </a:prstGeom>
          <a:solidFill>
            <a:srgbClr val="000000">
              <a:alpha val="30174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等线" panose="02010600030101010101" charset="-122"/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56132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  <a:cs typeface="+mn-cs"/>
                <a:sym typeface="Trebuchet MS" panose="020B0603020202020204" pitchFamily="34" charset="0"/>
              </a:rPr>
              <a:t>【</a:t>
            </a: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  <a:cs typeface="+mn-cs"/>
                <a:sym typeface="Trebuchet MS" panose="020B0603020202020204" pitchFamily="34" charset="0"/>
              </a:rPr>
              <a:t>材料汇总</a:t>
            </a: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  <a:cs typeface="+mn-cs"/>
                <a:sym typeface="Trebuchet MS" panose="020B0603020202020204" pitchFamily="34" charset="0"/>
              </a:rPr>
              <a:t>】201809CIO office sample sldies v5.pptx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6" name="矩形 5"/>
          <p:cNvSpPr/>
          <p:nvPr userDrawn="1"/>
        </p:nvSpPr>
        <p:spPr>
          <a:xfrm>
            <a:off x="203223" y="6461080"/>
            <a:ext cx="11051664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  <a:sym typeface="Trebuchet MS" panose="020B0603020202020204" pitchFamily="34" charset="0"/>
              </a:rPr>
              <a:t>申明：本材料仅供集团内部学习交流使用，严禁出于商业目的使用，以避免不必要的纠纷。</a:t>
            </a:r>
            <a:r>
              <a:rPr kumimoji="0" lang="en-US" altLang="zh-CN" sz="1335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  <a:sym typeface="Trebuchet MS" panose="020B0603020202020204" pitchFamily="34" charset="0"/>
              </a:rPr>
              <a:t>		</a:t>
            </a:r>
            <a:endParaRPr kumimoji="0" lang="zh-CN" altLang="en-US" sz="1335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-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2" b="42"/>
          <a:stretch>
            <a:fillRect/>
          </a:stretch>
        </p:blipFill>
        <p:spPr>
          <a:xfrm>
            <a:off x="1016697" y="10123"/>
            <a:ext cx="11168799" cy="684499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15" y="0"/>
            <a:ext cx="11146185" cy="6858000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5000">
                <a:srgbClr val="FDF1ED">
                  <a:alpha val="97647"/>
                </a:srgbClr>
              </a:gs>
              <a:gs pos="27000">
                <a:srgbClr val="FEF8F6">
                  <a:alpha val="86000"/>
                </a:srgbClr>
              </a:gs>
              <a:gs pos="56000">
                <a:schemeClr val="bg1">
                  <a:alpha val="86000"/>
                </a:schemeClr>
              </a:gs>
              <a:gs pos="0">
                <a:srgbClr val="FDEAE3"/>
              </a:gs>
              <a:gs pos="100000">
                <a:schemeClr val="bg1">
                  <a:alpha val="6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30" name="任意多边形: 形状 29"/>
          <p:cNvSpPr/>
          <p:nvPr userDrawn="1"/>
        </p:nvSpPr>
        <p:spPr>
          <a:xfrm>
            <a:off x="6918699" y="3183037"/>
            <a:ext cx="3984653" cy="3682203"/>
          </a:xfrm>
          <a:custGeom>
            <a:avLst/>
            <a:gdLst>
              <a:gd name="connsiteX0" fmla="*/ 2696901 w 5266797"/>
              <a:gd name="connsiteY0" fmla="*/ 0 h 6875362"/>
              <a:gd name="connsiteX1" fmla="*/ 5266797 w 5266797"/>
              <a:gd name="connsiteY1" fmla="*/ 0 h 6875362"/>
              <a:gd name="connsiteX2" fmla="*/ 5266797 w 5266797"/>
              <a:gd name="connsiteY2" fmla="*/ 1408772 h 6875362"/>
              <a:gd name="connsiteX3" fmla="*/ 3126080 w 5266797"/>
              <a:gd name="connsiteY3" fmla="*/ 6866222 h 6875362"/>
              <a:gd name="connsiteX4" fmla="*/ 0 w 5266797"/>
              <a:gd name="connsiteY4" fmla="*/ 6875362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6797" h="6875362">
                <a:moveTo>
                  <a:pt x="2696901" y="0"/>
                </a:moveTo>
                <a:lnTo>
                  <a:pt x="5266797" y="0"/>
                </a:lnTo>
                <a:lnTo>
                  <a:pt x="5266797" y="1408772"/>
                </a:lnTo>
                <a:lnTo>
                  <a:pt x="3126080" y="6866222"/>
                </a:lnTo>
                <a:lnTo>
                  <a:pt x="0" y="6875362"/>
                </a:lnTo>
                <a:close/>
              </a:path>
            </a:pathLst>
          </a:custGeom>
          <a:gradFill flip="none" rotWithShape="1">
            <a:gsLst>
              <a:gs pos="32000">
                <a:srgbClr val="FE832C"/>
              </a:gs>
              <a:gs pos="88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flipH="1">
            <a:off x="6229392" y="1300480"/>
            <a:ext cx="5962607" cy="5557520"/>
          </a:xfrm>
          <a:prstGeom prst="rect">
            <a:avLst/>
          </a:prstGeom>
        </p:spPr>
      </p:pic>
      <p:sp>
        <p:nvSpPr>
          <p:cNvPr id="13" name="任意多边形: 形状 12"/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741424" y="571834"/>
            <a:ext cx="2812005" cy="468667"/>
            <a:chOff x="660400" y="492126"/>
            <a:chExt cx="3257550" cy="542924"/>
          </a:xfrm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6" name="Freeform 6"/>
            <p:cNvSpPr/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7" name="Oval 7"/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0" name="Freeform 10"/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</p:grpSp>
      <p:grpSp>
        <p:nvGrpSpPr>
          <p:cNvPr id="26" name="组合 25"/>
          <p:cNvGrpSpPr/>
          <p:nvPr userDrawn="1"/>
        </p:nvGrpSpPr>
        <p:grpSpPr>
          <a:xfrm>
            <a:off x="741424" y="4676044"/>
            <a:ext cx="5694681" cy="45719"/>
            <a:chOff x="777184" y="3817770"/>
            <a:chExt cx="5694681" cy="45719"/>
          </a:xfrm>
        </p:grpSpPr>
        <p:sp>
          <p:nvSpPr>
            <p:cNvPr id="27" name="矩形 26"/>
            <p:cNvSpPr/>
            <p:nvPr/>
          </p:nvSpPr>
          <p:spPr>
            <a:xfrm>
              <a:off x="777184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cxnSp>
          <p:nvCxnSpPr>
            <p:cNvPr id="28" name="直接连接符 27"/>
            <p:cNvCxnSpPr/>
            <p:nvPr/>
          </p:nvCxnSpPr>
          <p:spPr>
            <a:xfrm>
              <a:off x="1606260" y="3837412"/>
              <a:ext cx="4865605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chemeClr val="accent1">
                      <a:lumMod val="45000"/>
                      <a:lumOff val="55000"/>
                    </a:schemeClr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文本占位符 31"/>
          <p:cNvSpPr>
            <a:spLocks noGrp="1"/>
          </p:cNvSpPr>
          <p:nvPr>
            <p:ph type="body" sz="quarter" idx="10" hasCustomPrompt="1"/>
          </p:nvPr>
        </p:nvSpPr>
        <p:spPr>
          <a:xfrm>
            <a:off x="639824" y="1727200"/>
            <a:ext cx="7241433" cy="280279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zh-CN" altLang="en-US" sz="5400" b="1" kern="2300" spc="240" dirty="0" smtClean="0">
                <a:ln w="15875">
                  <a:solidFill>
                    <a:schemeClr val="accent1"/>
                  </a:solidFill>
                </a:ln>
                <a:noFill/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/>
              <a:t>平安集团</a:t>
            </a:r>
            <a:endParaRPr lang="en-US" altLang="zh-CN" dirty="0"/>
          </a:p>
        </p:txBody>
      </p:sp>
      <p:sp>
        <p:nvSpPr>
          <p:cNvPr id="31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628248" y="555357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Speaker name and title</a:t>
            </a:r>
            <a:endParaRPr lang="en-US" altLang="zh-CN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4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628248" y="584820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en-US" sz="1600" dirty="0">
                <a:latin typeface="微软雅黑" panose="020B0503020204020204" charset="-122"/>
                <a:ea typeface="微软雅黑" panose="020B0503020204020204" charset="-122"/>
              </a:rPr>
              <a:t>D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ate &amp; Time</a:t>
            </a:r>
            <a:endParaRPr lang="en-US" altLang="en-US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791727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  <p:sp>
        <p:nvSpPr>
          <p:cNvPr id="6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4453048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  <p:sp>
        <p:nvSpPr>
          <p:cNvPr id="7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8114371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  <p:sp>
        <p:nvSpPr>
          <p:cNvPr id="8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479F964-9077-479C-84FE-FD00BAF75217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  <a:cs typeface="+mn-cs"/>
              </a:rPr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5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标题 19"/>
          <p:cNvSpPr>
            <a:spLocks noGrp="1"/>
          </p:cNvSpPr>
          <p:nvPr>
            <p:ph type="title"/>
          </p:nvPr>
        </p:nvSpPr>
        <p:spPr>
          <a:xfrm>
            <a:off x="5774803" y="3504585"/>
            <a:ext cx="57456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71" name="文本占位符 20"/>
          <p:cNvSpPr>
            <a:spLocks noGrp="1"/>
          </p:cNvSpPr>
          <p:nvPr>
            <p:ph type="body" idx="1"/>
          </p:nvPr>
        </p:nvSpPr>
        <p:spPr>
          <a:xfrm>
            <a:off x="5774803" y="4399935"/>
            <a:ext cx="57456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日期占位符 1"/>
          <p:cNvSpPr>
            <a:spLocks noGrp="1"/>
          </p:cNvSpPr>
          <p:nvPr>
            <p:ph type="dt" sz="half" idx="10"/>
          </p:nvPr>
        </p:nvSpPr>
        <p:spPr>
          <a:xfrm>
            <a:off x="6290733" y="8546253"/>
            <a:ext cx="3657600" cy="36576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页脚占位符 2"/>
          <p:cNvSpPr>
            <a:spLocks noGrp="1"/>
          </p:cNvSpPr>
          <p:nvPr>
            <p:ph type="ftr" sz="quarter" idx="11"/>
          </p:nvPr>
        </p:nvSpPr>
        <p:spPr>
          <a:xfrm>
            <a:off x="880532" y="8546253"/>
            <a:ext cx="4876800" cy="36576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10481733" y="8546253"/>
            <a:ext cx="4876800" cy="365760"/>
          </a:xfr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OfficePL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竖排内容占位符 2"/>
          <p:cNvSpPr>
            <a:spLocks noGrp="1"/>
          </p:cNvSpPr>
          <p:nvPr>
            <p:ph orient="vert" sz="quarter" idx="10"/>
          </p:nvPr>
        </p:nvSpPr>
        <p:spPr>
          <a:xfrm>
            <a:off x="2707798" y="843179"/>
            <a:ext cx="7705725" cy="4687887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8B5987-9647-4253-899C-3B9819D6D8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5401732" y="6235700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9924" y="6235700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35700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5401732" y="6235700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9924" y="6235700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35700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-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2" b="42"/>
          <a:stretch>
            <a:fillRect/>
          </a:stretch>
        </p:blipFill>
        <p:spPr>
          <a:xfrm>
            <a:off x="1016697" y="10123"/>
            <a:ext cx="11168799" cy="684499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15" y="0"/>
            <a:ext cx="11146185" cy="6858000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5000">
                <a:srgbClr val="FDF1ED">
                  <a:alpha val="97647"/>
                </a:srgbClr>
              </a:gs>
              <a:gs pos="27000">
                <a:srgbClr val="FEF8F6">
                  <a:alpha val="86000"/>
                </a:srgbClr>
              </a:gs>
              <a:gs pos="56000">
                <a:schemeClr val="bg1">
                  <a:alpha val="86000"/>
                </a:schemeClr>
              </a:gs>
              <a:gs pos="0">
                <a:srgbClr val="FDEAE3"/>
              </a:gs>
              <a:gs pos="100000">
                <a:schemeClr val="bg1">
                  <a:alpha val="6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0" name="任意多边形: 形状 29"/>
          <p:cNvSpPr/>
          <p:nvPr userDrawn="1"/>
        </p:nvSpPr>
        <p:spPr>
          <a:xfrm>
            <a:off x="6918699" y="3183037"/>
            <a:ext cx="3984653" cy="3682203"/>
          </a:xfrm>
          <a:custGeom>
            <a:avLst/>
            <a:gdLst>
              <a:gd name="connsiteX0" fmla="*/ 2696901 w 5266797"/>
              <a:gd name="connsiteY0" fmla="*/ 0 h 6875362"/>
              <a:gd name="connsiteX1" fmla="*/ 5266797 w 5266797"/>
              <a:gd name="connsiteY1" fmla="*/ 0 h 6875362"/>
              <a:gd name="connsiteX2" fmla="*/ 5266797 w 5266797"/>
              <a:gd name="connsiteY2" fmla="*/ 1408772 h 6875362"/>
              <a:gd name="connsiteX3" fmla="*/ 3126080 w 5266797"/>
              <a:gd name="connsiteY3" fmla="*/ 6866222 h 6875362"/>
              <a:gd name="connsiteX4" fmla="*/ 0 w 5266797"/>
              <a:gd name="connsiteY4" fmla="*/ 6875362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6797" h="6875362">
                <a:moveTo>
                  <a:pt x="2696901" y="0"/>
                </a:moveTo>
                <a:lnTo>
                  <a:pt x="5266797" y="0"/>
                </a:lnTo>
                <a:lnTo>
                  <a:pt x="5266797" y="1408772"/>
                </a:lnTo>
                <a:lnTo>
                  <a:pt x="3126080" y="6866222"/>
                </a:lnTo>
                <a:lnTo>
                  <a:pt x="0" y="6875362"/>
                </a:lnTo>
                <a:close/>
              </a:path>
            </a:pathLst>
          </a:custGeom>
          <a:gradFill flip="none" rotWithShape="1">
            <a:gsLst>
              <a:gs pos="32000">
                <a:srgbClr val="FE832C"/>
              </a:gs>
              <a:gs pos="88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flipH="1">
            <a:off x="6229392" y="1300480"/>
            <a:ext cx="5962607" cy="5557520"/>
          </a:xfrm>
          <a:prstGeom prst="rect">
            <a:avLst/>
          </a:prstGeom>
        </p:spPr>
      </p:pic>
      <p:sp>
        <p:nvSpPr>
          <p:cNvPr id="13" name="任意多边形: 形状 12"/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741424" y="571834"/>
            <a:ext cx="2812005" cy="468667"/>
            <a:chOff x="660400" y="492126"/>
            <a:chExt cx="3257550" cy="542924"/>
          </a:xfrm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6" name="Freeform 6"/>
            <p:cNvSpPr/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7" name="Oval 7"/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0" name="Freeform 10"/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26" name="组合 25"/>
          <p:cNvGrpSpPr/>
          <p:nvPr userDrawn="1"/>
        </p:nvGrpSpPr>
        <p:grpSpPr>
          <a:xfrm>
            <a:off x="794753" y="3848730"/>
            <a:ext cx="5694681" cy="45719"/>
            <a:chOff x="777184" y="3817770"/>
            <a:chExt cx="5694681" cy="45719"/>
          </a:xfrm>
        </p:grpSpPr>
        <p:sp>
          <p:nvSpPr>
            <p:cNvPr id="27" name="矩形 26"/>
            <p:cNvSpPr/>
            <p:nvPr/>
          </p:nvSpPr>
          <p:spPr>
            <a:xfrm>
              <a:off x="777184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8" name="直接连接符 27"/>
            <p:cNvCxnSpPr/>
            <p:nvPr/>
          </p:nvCxnSpPr>
          <p:spPr>
            <a:xfrm>
              <a:off x="1606260" y="3837412"/>
              <a:ext cx="4865605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chemeClr val="accent1">
                      <a:lumMod val="45000"/>
                      <a:lumOff val="55000"/>
                    </a:schemeClr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文本占位符 31"/>
          <p:cNvSpPr>
            <a:spLocks noGrp="1"/>
          </p:cNvSpPr>
          <p:nvPr>
            <p:ph type="body" sz="quarter" idx="10" hasCustomPrompt="1"/>
          </p:nvPr>
        </p:nvSpPr>
        <p:spPr>
          <a:xfrm>
            <a:off x="639824" y="1727200"/>
            <a:ext cx="7241433" cy="280279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zh-CN" altLang="en-US" sz="5400" b="1" kern="2300" spc="240" dirty="0" smtClean="0">
                <a:ln w="15875">
                  <a:solidFill>
                    <a:schemeClr val="accent1"/>
                  </a:solidFill>
                </a:ln>
                <a:noFill/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/>
              <a:t>平安集团</a:t>
            </a:r>
            <a:endParaRPr lang="en-US" altLang="zh-CN" dirty="0"/>
          </a:p>
        </p:txBody>
      </p:sp>
      <p:sp>
        <p:nvSpPr>
          <p:cNvPr id="31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628248" y="555357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Speaker name and title</a:t>
            </a:r>
            <a:endParaRPr lang="en-US" altLang="zh-CN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4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628248" y="584820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en-US" sz="1600" dirty="0">
                <a:latin typeface="微软雅黑" panose="020B0503020204020204" charset="-122"/>
                <a:ea typeface="微软雅黑" panose="020B0503020204020204" charset="-122"/>
              </a:rPr>
              <a:t>D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ate &amp; Time</a:t>
            </a:r>
            <a:endParaRPr lang="en-US" altLang="en-US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FD17C161-E0A8-4D01-9947-85FD8942E9C9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FD17C161-E0A8-4D01-9947-85FD8942E9C9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fld id="{B9109487-48C0-49BF-9A76-4EC48A3BB7C8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2-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1"/>
            <a:ext cx="12185496" cy="6855118"/>
          </a:xfrm>
          <a:prstGeom prst="rect">
            <a:avLst/>
          </a:prstGeom>
          <a:gradFill flip="none" rotWithShape="1">
            <a:gsLst>
              <a:gs pos="36000">
                <a:srgbClr val="FEF6F4">
                  <a:alpha val="96000"/>
                </a:srgbClr>
              </a:gs>
              <a:gs pos="68000">
                <a:srgbClr val="FFFCFB">
                  <a:alpha val="80000"/>
                </a:srgbClr>
              </a:gs>
              <a:gs pos="85000">
                <a:schemeClr val="bg1">
                  <a:alpha val="76000"/>
                </a:schemeClr>
              </a:gs>
              <a:gs pos="0">
                <a:srgbClr val="FDEEE9"/>
              </a:gs>
              <a:gs pos="100000">
                <a:schemeClr val="bg1">
                  <a:alpha val="76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t="45" b="45"/>
          <a:stretch>
            <a:fillRect/>
          </a:stretch>
        </p:blipFill>
        <p:spPr>
          <a:xfrm>
            <a:off x="-21525" y="0"/>
            <a:ext cx="5710001" cy="6858000"/>
          </a:xfrm>
          <a:custGeom>
            <a:avLst/>
            <a:gdLst>
              <a:gd name="connsiteX0" fmla="*/ 0 w 5710001"/>
              <a:gd name="connsiteY0" fmla="*/ 0 h 6858000"/>
              <a:gd name="connsiteX1" fmla="*/ 5710001 w 5710001"/>
              <a:gd name="connsiteY1" fmla="*/ 0 h 6858000"/>
              <a:gd name="connsiteX2" fmla="*/ 2629113 w 5710001"/>
              <a:gd name="connsiteY2" fmla="*/ 6858000 h 6858000"/>
              <a:gd name="connsiteX3" fmla="*/ 0 w 5710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10001" h="6858000">
                <a:moveTo>
                  <a:pt x="0" y="0"/>
                </a:moveTo>
                <a:lnTo>
                  <a:pt x="5710001" y="0"/>
                </a:lnTo>
                <a:lnTo>
                  <a:pt x="262911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grpSp>
        <p:nvGrpSpPr>
          <p:cNvPr id="4" name="组合 3"/>
          <p:cNvGrpSpPr/>
          <p:nvPr userDrawn="1"/>
        </p:nvGrpSpPr>
        <p:grpSpPr>
          <a:xfrm>
            <a:off x="5634689" y="1816496"/>
            <a:ext cx="5884211" cy="45719"/>
            <a:chOff x="2913325" y="3817770"/>
            <a:chExt cx="5884211" cy="45719"/>
          </a:xfrm>
        </p:grpSpPr>
        <p:sp>
          <p:nvSpPr>
            <p:cNvPr id="5" name="矩形 4"/>
            <p:cNvSpPr/>
            <p:nvPr/>
          </p:nvSpPr>
          <p:spPr>
            <a:xfrm>
              <a:off x="7939985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6" name="直接连接符 5"/>
            <p:cNvCxnSpPr/>
            <p:nvPr/>
          </p:nvCxnSpPr>
          <p:spPr>
            <a:xfrm flipH="1">
              <a:off x="2913325" y="3837412"/>
              <a:ext cx="5026660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rgbClr val="FFC000"/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平行四边形 14"/>
          <p:cNvSpPr/>
          <p:nvPr userDrawn="1"/>
        </p:nvSpPr>
        <p:spPr>
          <a:xfrm>
            <a:off x="2361533" y="3506350"/>
            <a:ext cx="1967851" cy="3348769"/>
          </a:xfrm>
          <a:prstGeom prst="parallelogram">
            <a:avLst>
              <a:gd name="adj" fmla="val 77370"/>
            </a:avLst>
          </a:prstGeom>
          <a:solidFill>
            <a:srgbClr val="005E3C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" name="文本框 15"/>
          <p:cNvSpPr txBox="1"/>
          <p:nvPr userDrawn="1"/>
        </p:nvSpPr>
        <p:spPr>
          <a:xfrm>
            <a:off x="5976559" y="1014366"/>
            <a:ext cx="11233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600" i="1" kern="100" spc="6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lang="en-US" altLang="zh-CN" sz="3600" i="1" kern="100" spc="6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7" name="文本框 16"/>
          <p:cNvSpPr txBox="1"/>
          <p:nvPr userDrawn="1"/>
        </p:nvSpPr>
        <p:spPr>
          <a:xfrm>
            <a:off x="6976933" y="1249012"/>
            <a:ext cx="18208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i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Arial Unicode MS" panose="020B0604020202020204" pitchFamily="34" charset="-122"/>
              </a:rPr>
              <a:t> / CONTENTS</a:t>
            </a:r>
            <a:endParaRPr lang="zh-CN" altLang="en-US" sz="2000" i="1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Arial Unicode MS" panose="020B0604020202020204" pitchFamily="34" charset="-122"/>
            </a:endParaRPr>
          </a:p>
        </p:txBody>
      </p:sp>
      <p:sp>
        <p:nvSpPr>
          <p:cNvPr id="22" name="矩形 21"/>
          <p:cNvSpPr/>
          <p:nvPr userDrawn="1"/>
        </p:nvSpPr>
        <p:spPr>
          <a:xfrm>
            <a:off x="0" y="0"/>
            <a:ext cx="5688476" cy="6858000"/>
          </a:xfrm>
          <a:custGeom>
            <a:avLst/>
            <a:gdLst>
              <a:gd name="connsiteX0" fmla="*/ 0 w 5688476"/>
              <a:gd name="connsiteY0" fmla="*/ 0 h 6858000"/>
              <a:gd name="connsiteX1" fmla="*/ 5688476 w 5688476"/>
              <a:gd name="connsiteY1" fmla="*/ 0 h 6858000"/>
              <a:gd name="connsiteX2" fmla="*/ 5688476 w 5688476"/>
              <a:gd name="connsiteY2" fmla="*/ 6858000 h 6858000"/>
              <a:gd name="connsiteX3" fmla="*/ 0 w 5688476"/>
              <a:gd name="connsiteY3" fmla="*/ 6858000 h 6858000"/>
              <a:gd name="connsiteX4" fmla="*/ 0 w 5688476"/>
              <a:gd name="connsiteY4" fmla="*/ 0 h 6858000"/>
              <a:gd name="connsiteX0-1" fmla="*/ 0 w 5688476"/>
              <a:gd name="connsiteY0-2" fmla="*/ 0 h 6858000"/>
              <a:gd name="connsiteX1-3" fmla="*/ 5688476 w 5688476"/>
              <a:gd name="connsiteY1-4" fmla="*/ 0 h 6858000"/>
              <a:gd name="connsiteX2-5" fmla="*/ 2586461 w 5688476"/>
              <a:gd name="connsiteY2-6" fmla="*/ 6858000 h 6858000"/>
              <a:gd name="connsiteX3-7" fmla="*/ 0 w 5688476"/>
              <a:gd name="connsiteY3-8" fmla="*/ 6858000 h 6858000"/>
              <a:gd name="connsiteX4-9" fmla="*/ 0 w 5688476"/>
              <a:gd name="connsiteY4-10" fmla="*/ 0 h 6858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5688476" h="6858000">
                <a:moveTo>
                  <a:pt x="0" y="0"/>
                </a:moveTo>
                <a:lnTo>
                  <a:pt x="5688476" y="0"/>
                </a:lnTo>
                <a:lnTo>
                  <a:pt x="2586461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7000">
                <a:srgbClr val="FDF1ED">
                  <a:alpha val="18000"/>
                </a:srgbClr>
              </a:gs>
              <a:gs pos="27000">
                <a:srgbClr val="FEF8F6">
                  <a:alpha val="1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660400" y="128587"/>
            <a:ext cx="10858500" cy="900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  <a:endParaRPr 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660400" y="128587"/>
            <a:ext cx="10858500" cy="900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  <a:endParaRPr 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660400" y="128587"/>
            <a:ext cx="10858500" cy="900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  <a:endParaRPr 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660400" y="128587"/>
            <a:ext cx="10858500" cy="900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  <a:endParaRPr 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FD17C161-E0A8-4D01-9947-85FD8942E9C9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B9109487-48C0-49BF-9A76-4EC48A3BB7C8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701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对象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265313" y="6448834"/>
            <a:ext cx="2844800" cy="365125"/>
          </a:xfrm>
          <a:prstGeom prst="rect">
            <a:avLst/>
          </a:prstGeom>
        </p:spPr>
        <p:txBody>
          <a:bodyPr lIns="99791" tIns="49895" rIns="99791" bIns="49895"/>
          <a:lstStyle>
            <a:lvl1pPr algn="r">
              <a:defRPr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  <p:sp>
        <p:nvSpPr>
          <p:cNvPr id="5" name="标题 3"/>
          <p:cNvSpPr>
            <a:spLocks noGrp="1"/>
          </p:cNvSpPr>
          <p:nvPr>
            <p:ph type="title"/>
          </p:nvPr>
        </p:nvSpPr>
        <p:spPr>
          <a:xfrm>
            <a:off x="37395" y="1"/>
            <a:ext cx="12072719" cy="719832"/>
          </a:xfrm>
          <a:prstGeom prst="rect">
            <a:avLst/>
          </a:prstGeom>
        </p:spPr>
        <p:txBody>
          <a:bodyPr lIns="68580" tIns="34290" rIns="68580" bIns="34290" anchor="ctr">
            <a:normAutofit/>
          </a:bodyPr>
          <a:lstStyle>
            <a:lvl1pPr>
              <a:defRPr sz="2800" b="1">
                <a:solidFill>
                  <a:schemeClr val="tx1">
                    <a:lumMod val="85000"/>
                    <a:lumOff val="1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>
          <a:xfrm>
            <a:off x="792057" y="995257"/>
            <a:ext cx="9844616" cy="4358216"/>
          </a:xfrm>
          <a:prstGeom prst="rect">
            <a:avLst/>
          </a:prstGeom>
        </p:spPr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2pPr>
            <a:lvl3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3pPr>
            <a:lvl4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4pPr>
            <a:lvl5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0封面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/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171507" y="1028700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0"/>
          </p:nvPr>
        </p:nvSpPr>
        <p:spPr>
          <a:xfrm>
            <a:off x="11287844" y="6289488"/>
            <a:ext cx="526143" cy="365125"/>
          </a:xfrm>
        </p:spPr>
        <p:txBody>
          <a:bodyPr/>
          <a:lstStyle/>
          <a:p>
            <a:fld id="{09321FF8-95CF-4FCD-B001-FA7673DD6BBC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DD3DB80-B894-403A-B48E-6FDC1A72010E}" type="slidenum">
              <a:rPr lang="zh-CN" altLang="en-US" sz="1200" b="1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  <a:ea typeface="微软雅黑" panose="020B0503020204020204" charset="-122"/>
              </a:rPr>
            </a:fld>
            <a:endParaRPr lang="zh-CN" altLang="en-US" sz="1200" b="1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171507" y="1028700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5"/>
          <p:cNvSpPr>
            <a:spLocks noGrp="1"/>
          </p:cNvSpPr>
          <p:nvPr>
            <p:ph type="title" hasCustomPrompt="1"/>
          </p:nvPr>
        </p:nvSpPr>
        <p:spPr>
          <a:xfrm>
            <a:off x="171507" y="121920"/>
            <a:ext cx="11822373" cy="84582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zh-CN" altLang="en-US" dirty="0"/>
              <a:t>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72d2fdfb8da93606a4b836a6cf30fcbf570dc6d9178c0b-ai3vDw.jpeg" descr="72d2fdfb8da93606a4b836a6cf30fcbf570dc6d9178c0b-ai3vDw.jpeg"/>
          <p:cNvPicPr>
            <a:picLocks noChangeAspect="1"/>
          </p:cNvPicPr>
          <p:nvPr userDrawn="1"/>
        </p:nvPicPr>
        <p:blipFill rotWithShape="1">
          <a:blip r:embed="rId2"/>
          <a:srcRect b="4492"/>
          <a:stretch>
            <a:fillRect/>
          </a:stretch>
        </p:blipFill>
        <p:spPr>
          <a:xfrm>
            <a:off x="0" y="1"/>
            <a:ext cx="12231566" cy="6858000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6" name="矩形"/>
          <p:cNvSpPr/>
          <p:nvPr userDrawn="1"/>
        </p:nvSpPr>
        <p:spPr>
          <a:xfrm>
            <a:off x="0" y="10581"/>
            <a:ext cx="12231566" cy="6847420"/>
          </a:xfrm>
          <a:prstGeom prst="rect">
            <a:avLst/>
          </a:prstGeom>
          <a:solidFill>
            <a:srgbClr val="000000">
              <a:alpha val="30174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sym typeface="等线" panose="02010600030101010101" charset="-122"/>
            </a:endParaRP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56132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【</a:t>
            </a:r>
            <a:r>
              <a:rPr lang="zh-CN" alt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材料汇总</a:t>
            </a: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】201809CIO office sample sldies v5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6" name="矩形 5"/>
          <p:cNvSpPr/>
          <p:nvPr userDrawn="1"/>
        </p:nvSpPr>
        <p:spPr>
          <a:xfrm>
            <a:off x="203223" y="6461080"/>
            <a:ext cx="11051664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accent5"/>
                </a:solidFill>
                <a:latin typeface="华文楷体" panose="02010600040101010101" pitchFamily="2" charset="-122"/>
                <a:ea typeface="+mj-ea"/>
                <a:cs typeface="+mj-cs"/>
                <a:sym typeface="Trebuchet MS" panose="020B0603020202020204" pitchFamily="34" charset="0"/>
              </a:rPr>
              <a:t>申明：本材料仅供集团内部学习交流使用，严禁出于商业目的使用，以避免不必要的纠纷。</a:t>
            </a:r>
            <a:r>
              <a:rPr lang="en-US" altLang="zh-CN" sz="1335" dirty="0">
                <a:solidFill>
                  <a:srgbClr val="FF0000"/>
                </a:solidFill>
                <a:latin typeface="华文楷体" panose="02010600040101010101" pitchFamily="2" charset="-122"/>
                <a:ea typeface="+mj-ea"/>
                <a:cs typeface="+mj-cs"/>
                <a:sym typeface="Trebuchet MS" panose="020B0603020202020204" pitchFamily="34" charset="0"/>
              </a:rPr>
              <a:t>		</a:t>
            </a:r>
            <a:endParaRPr lang="zh-CN" altLang="en-US" sz="1335" dirty="0">
              <a:solidFill>
                <a:schemeClr val="accent5"/>
              </a:solidFill>
              <a:latin typeface="华文楷体" panose="02010600040101010101" pitchFamily="2" charset="-122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-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2" b="42"/>
          <a:stretch>
            <a:fillRect/>
          </a:stretch>
        </p:blipFill>
        <p:spPr>
          <a:xfrm>
            <a:off x="1016697" y="10123"/>
            <a:ext cx="11168799" cy="684499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15" y="0"/>
            <a:ext cx="11146185" cy="6858000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5000">
                <a:srgbClr val="FDF1ED">
                  <a:alpha val="97647"/>
                </a:srgbClr>
              </a:gs>
              <a:gs pos="27000">
                <a:srgbClr val="FEF8F6">
                  <a:alpha val="86000"/>
                </a:srgbClr>
              </a:gs>
              <a:gs pos="56000">
                <a:schemeClr val="bg1">
                  <a:alpha val="86000"/>
                </a:schemeClr>
              </a:gs>
              <a:gs pos="0">
                <a:srgbClr val="FDEAE3"/>
              </a:gs>
              <a:gs pos="100000">
                <a:schemeClr val="bg1">
                  <a:alpha val="6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0" name="任意多边形: 形状 29"/>
          <p:cNvSpPr/>
          <p:nvPr userDrawn="1"/>
        </p:nvSpPr>
        <p:spPr>
          <a:xfrm>
            <a:off x="6918699" y="3183037"/>
            <a:ext cx="3984653" cy="3682203"/>
          </a:xfrm>
          <a:custGeom>
            <a:avLst/>
            <a:gdLst>
              <a:gd name="connsiteX0" fmla="*/ 2696901 w 5266797"/>
              <a:gd name="connsiteY0" fmla="*/ 0 h 6875362"/>
              <a:gd name="connsiteX1" fmla="*/ 5266797 w 5266797"/>
              <a:gd name="connsiteY1" fmla="*/ 0 h 6875362"/>
              <a:gd name="connsiteX2" fmla="*/ 5266797 w 5266797"/>
              <a:gd name="connsiteY2" fmla="*/ 1408772 h 6875362"/>
              <a:gd name="connsiteX3" fmla="*/ 3126080 w 5266797"/>
              <a:gd name="connsiteY3" fmla="*/ 6866222 h 6875362"/>
              <a:gd name="connsiteX4" fmla="*/ 0 w 5266797"/>
              <a:gd name="connsiteY4" fmla="*/ 6875362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6797" h="6875362">
                <a:moveTo>
                  <a:pt x="2696901" y="0"/>
                </a:moveTo>
                <a:lnTo>
                  <a:pt x="5266797" y="0"/>
                </a:lnTo>
                <a:lnTo>
                  <a:pt x="5266797" y="1408772"/>
                </a:lnTo>
                <a:lnTo>
                  <a:pt x="3126080" y="6866222"/>
                </a:lnTo>
                <a:lnTo>
                  <a:pt x="0" y="6875362"/>
                </a:lnTo>
                <a:close/>
              </a:path>
            </a:pathLst>
          </a:custGeom>
          <a:gradFill flip="none" rotWithShape="1">
            <a:gsLst>
              <a:gs pos="32000">
                <a:srgbClr val="FE832C"/>
              </a:gs>
              <a:gs pos="88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flipH="1">
            <a:off x="6229392" y="1300480"/>
            <a:ext cx="5962607" cy="5557520"/>
          </a:xfrm>
          <a:prstGeom prst="rect">
            <a:avLst/>
          </a:prstGeom>
        </p:spPr>
      </p:pic>
      <p:sp>
        <p:nvSpPr>
          <p:cNvPr id="13" name="任意多边形: 形状 12"/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741424" y="571834"/>
            <a:ext cx="2812005" cy="468667"/>
            <a:chOff x="660400" y="492126"/>
            <a:chExt cx="3257550" cy="542924"/>
          </a:xfrm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6" name="Freeform 6"/>
            <p:cNvSpPr/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7" name="Oval 7"/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0" name="Freeform 10"/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26" name="组合 25"/>
          <p:cNvGrpSpPr/>
          <p:nvPr userDrawn="1"/>
        </p:nvGrpSpPr>
        <p:grpSpPr>
          <a:xfrm>
            <a:off x="741424" y="4676044"/>
            <a:ext cx="5694681" cy="45719"/>
            <a:chOff x="777184" y="3817770"/>
            <a:chExt cx="5694681" cy="45719"/>
          </a:xfrm>
        </p:grpSpPr>
        <p:sp>
          <p:nvSpPr>
            <p:cNvPr id="27" name="矩形 26"/>
            <p:cNvSpPr/>
            <p:nvPr/>
          </p:nvSpPr>
          <p:spPr>
            <a:xfrm>
              <a:off x="777184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8" name="直接连接符 27"/>
            <p:cNvCxnSpPr/>
            <p:nvPr/>
          </p:nvCxnSpPr>
          <p:spPr>
            <a:xfrm>
              <a:off x="1606260" y="3837412"/>
              <a:ext cx="4865605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chemeClr val="accent1">
                      <a:lumMod val="45000"/>
                      <a:lumOff val="55000"/>
                    </a:schemeClr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文本占位符 31"/>
          <p:cNvSpPr>
            <a:spLocks noGrp="1"/>
          </p:cNvSpPr>
          <p:nvPr>
            <p:ph type="body" sz="quarter" idx="10" hasCustomPrompt="1"/>
          </p:nvPr>
        </p:nvSpPr>
        <p:spPr>
          <a:xfrm>
            <a:off x="639824" y="1727200"/>
            <a:ext cx="7241433" cy="280279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zh-CN" altLang="en-US" sz="5400" b="1" kern="2300" spc="240" dirty="0" smtClean="0">
                <a:ln w="15875">
                  <a:solidFill>
                    <a:schemeClr val="accent1"/>
                  </a:solidFill>
                </a:ln>
                <a:noFill/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/>
              <a:t>平安集团</a:t>
            </a:r>
            <a:endParaRPr lang="en-US" altLang="zh-CN" dirty="0"/>
          </a:p>
        </p:txBody>
      </p:sp>
      <p:sp>
        <p:nvSpPr>
          <p:cNvPr id="31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628248" y="555357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Speaker name and title</a:t>
            </a:r>
            <a:endParaRPr lang="en-US" altLang="zh-CN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4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628248" y="584820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en-US" sz="1600" dirty="0">
                <a:latin typeface="微软雅黑" panose="020B0503020204020204" charset="-122"/>
                <a:ea typeface="微软雅黑" panose="020B0503020204020204" charset="-122"/>
              </a:rPr>
              <a:t>D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ate &amp; Time</a:t>
            </a:r>
            <a:endParaRPr lang="en-US" altLang="en-US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8AE3A-C62D-4AF0-9E0E-4E3C49938C44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9F964-9077-479C-84FE-FD00BAF752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4-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8"/>
          <p:cNvSpPr>
            <a:spLocks noGrp="1"/>
          </p:cNvSpPr>
          <p:nvPr>
            <p:ph type="sldNum" sz="quarter" idx="10"/>
          </p:nvPr>
        </p:nvSpPr>
        <p:spPr>
          <a:xfrm>
            <a:off x="11287844" y="6289488"/>
            <a:ext cx="526143" cy="365125"/>
          </a:xfrm>
        </p:spPr>
        <p:txBody>
          <a:bodyPr/>
          <a:lstStyle/>
          <a:p>
            <a:fld id="{09321FF8-95CF-4FCD-B001-FA7673DD6BBC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5-章节隔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1"/>
            <a:ext cx="12185496" cy="6855118"/>
          </a:xfrm>
          <a:prstGeom prst="rect">
            <a:avLst/>
          </a:prstGeom>
          <a:gradFill flip="none" rotWithShape="1">
            <a:gsLst>
              <a:gs pos="6000">
                <a:srgbClr val="FEF6F4"/>
              </a:gs>
              <a:gs pos="23000">
                <a:srgbClr val="FFFCFB">
                  <a:alpha val="80000"/>
                </a:srgbClr>
              </a:gs>
              <a:gs pos="55000">
                <a:schemeClr val="bg1">
                  <a:alpha val="76000"/>
                </a:schemeClr>
              </a:gs>
              <a:gs pos="0">
                <a:srgbClr val="FDEEE9"/>
              </a:gs>
              <a:gs pos="87000">
                <a:schemeClr val="bg1">
                  <a:alpha val="76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1" name="文本占位符 29"/>
          <p:cNvSpPr>
            <a:spLocks noGrp="1"/>
          </p:cNvSpPr>
          <p:nvPr>
            <p:ph type="body" sz="quarter" idx="11" hasCustomPrompt="1"/>
          </p:nvPr>
        </p:nvSpPr>
        <p:spPr>
          <a:xfrm>
            <a:off x="1453621" y="2190334"/>
            <a:ext cx="3282643" cy="4616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buNone/>
              <a:defRPr lang="zh-CN" altLang="en-US" sz="2400" b="1" kern="1800" spc="110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dirty="0"/>
              <a:t>章节标题</a:t>
            </a:r>
            <a:endParaRPr lang="zh-CN" altLang="en-US" dirty="0"/>
          </a:p>
        </p:txBody>
      </p:sp>
      <p:grpSp>
        <p:nvGrpSpPr>
          <p:cNvPr id="22" name="组合 21"/>
          <p:cNvGrpSpPr/>
          <p:nvPr/>
        </p:nvGrpSpPr>
        <p:grpSpPr>
          <a:xfrm>
            <a:off x="701506" y="2698605"/>
            <a:ext cx="2784066" cy="45719"/>
            <a:chOff x="777185" y="3817770"/>
            <a:chExt cx="2784066" cy="45719"/>
          </a:xfrm>
        </p:grpSpPr>
        <p:sp>
          <p:nvSpPr>
            <p:cNvPr id="25" name="矩形 24"/>
            <p:cNvSpPr/>
            <p:nvPr/>
          </p:nvSpPr>
          <p:spPr>
            <a:xfrm>
              <a:off x="777185" y="3817770"/>
              <a:ext cx="644526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6" name="直接连接符 25"/>
            <p:cNvCxnSpPr/>
            <p:nvPr/>
          </p:nvCxnSpPr>
          <p:spPr>
            <a:xfrm>
              <a:off x="1398615" y="3840629"/>
              <a:ext cx="2162636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rgbClr val="FFC000"/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任意多边形: 形状 7"/>
          <p:cNvSpPr/>
          <p:nvPr userDrawn="1"/>
        </p:nvSpPr>
        <p:spPr>
          <a:xfrm>
            <a:off x="5552100" y="0"/>
            <a:ext cx="6672969" cy="6855118"/>
          </a:xfrm>
          <a:custGeom>
            <a:avLst/>
            <a:gdLst>
              <a:gd name="connsiteX0" fmla="*/ 3417208 w 6672969"/>
              <a:gd name="connsiteY0" fmla="*/ 0 h 6855118"/>
              <a:gd name="connsiteX1" fmla="*/ 6672969 w 6672969"/>
              <a:gd name="connsiteY1" fmla="*/ 0 h 6855118"/>
              <a:gd name="connsiteX2" fmla="*/ 6672969 w 6672969"/>
              <a:gd name="connsiteY2" fmla="*/ 6855118 h 6855118"/>
              <a:gd name="connsiteX3" fmla="*/ 0 w 6672969"/>
              <a:gd name="connsiteY3" fmla="*/ 6855118 h 685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72969" h="6855118">
                <a:moveTo>
                  <a:pt x="3417208" y="0"/>
                </a:moveTo>
                <a:lnTo>
                  <a:pt x="6672969" y="0"/>
                </a:lnTo>
                <a:lnTo>
                  <a:pt x="6672969" y="6855118"/>
                </a:lnTo>
                <a:lnTo>
                  <a:pt x="0" y="685511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506720" y="1399720"/>
            <a:ext cx="6685280" cy="5458280"/>
          </a:xfrm>
          <a:custGeom>
            <a:avLst/>
            <a:gdLst>
              <a:gd name="connsiteX0" fmla="*/ 2932311 w 6685280"/>
              <a:gd name="connsiteY0" fmla="*/ 2241 h 5458280"/>
              <a:gd name="connsiteX1" fmla="*/ 3027680 w 6685280"/>
              <a:gd name="connsiteY1" fmla="*/ 2360 h 5458280"/>
              <a:gd name="connsiteX2" fmla="*/ 3769360 w 6685280"/>
              <a:gd name="connsiteY2" fmla="*/ 12520 h 5458280"/>
              <a:gd name="connsiteX3" fmla="*/ 4084320 w 6685280"/>
              <a:gd name="connsiteY3" fmla="*/ 286840 h 5458280"/>
              <a:gd name="connsiteX4" fmla="*/ 6685280 w 6685280"/>
              <a:gd name="connsiteY4" fmla="*/ 5458280 h 5458280"/>
              <a:gd name="connsiteX5" fmla="*/ 4201160 w 6685280"/>
              <a:gd name="connsiteY5" fmla="*/ 5458280 h 5458280"/>
              <a:gd name="connsiteX6" fmla="*/ 4201160 w 6685280"/>
              <a:gd name="connsiteY6" fmla="*/ 4110784 h 5458280"/>
              <a:gd name="connsiteX7" fmla="*/ 4072917 w 6685280"/>
              <a:gd name="connsiteY7" fmla="*/ 3982541 h 5458280"/>
              <a:gd name="connsiteX8" fmla="*/ 2637763 w 6685280"/>
              <a:gd name="connsiteY8" fmla="*/ 3982541 h 5458280"/>
              <a:gd name="connsiteX9" fmla="*/ 2509520 w 6685280"/>
              <a:gd name="connsiteY9" fmla="*/ 4110784 h 5458280"/>
              <a:gd name="connsiteX10" fmla="*/ 2509520 w 6685280"/>
              <a:gd name="connsiteY10" fmla="*/ 5458280 h 5458280"/>
              <a:gd name="connsiteX11" fmla="*/ 0 w 6685280"/>
              <a:gd name="connsiteY11" fmla="*/ 5458280 h 5458280"/>
              <a:gd name="connsiteX12" fmla="*/ 2604770 w 6685280"/>
              <a:gd name="connsiteY12" fmla="*/ 341450 h 5458280"/>
              <a:gd name="connsiteX13" fmla="*/ 2932311 w 6685280"/>
              <a:gd name="connsiteY13" fmla="*/ 2241 h 545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685280" h="5458280">
                <a:moveTo>
                  <a:pt x="2932311" y="2241"/>
                </a:moveTo>
                <a:cubicBezTo>
                  <a:pt x="2960826" y="-716"/>
                  <a:pt x="2992437" y="-815"/>
                  <a:pt x="3027680" y="2360"/>
                </a:cubicBezTo>
                <a:lnTo>
                  <a:pt x="3769360" y="12520"/>
                </a:lnTo>
                <a:cubicBezTo>
                  <a:pt x="3889587" y="4900"/>
                  <a:pt x="3948853" y="31570"/>
                  <a:pt x="4084320" y="286840"/>
                </a:cubicBezTo>
                <a:lnTo>
                  <a:pt x="6685280" y="5458280"/>
                </a:lnTo>
                <a:lnTo>
                  <a:pt x="4201160" y="5458280"/>
                </a:lnTo>
                <a:lnTo>
                  <a:pt x="4201160" y="4110784"/>
                </a:lnTo>
                <a:cubicBezTo>
                  <a:pt x="4201160" y="4039957"/>
                  <a:pt x="4143744" y="3982541"/>
                  <a:pt x="4072917" y="3982541"/>
                </a:cubicBezTo>
                <a:lnTo>
                  <a:pt x="2637763" y="3982541"/>
                </a:lnTo>
                <a:cubicBezTo>
                  <a:pt x="2566936" y="3982541"/>
                  <a:pt x="2509520" y="4039957"/>
                  <a:pt x="2509520" y="4110784"/>
                </a:cubicBezTo>
                <a:lnTo>
                  <a:pt x="2509520" y="5458280"/>
                </a:lnTo>
                <a:lnTo>
                  <a:pt x="0" y="5458280"/>
                </a:lnTo>
                <a:lnTo>
                  <a:pt x="2604770" y="341450"/>
                </a:lnTo>
                <a:cubicBezTo>
                  <a:pt x="2684780" y="183653"/>
                  <a:pt x="2732703" y="22938"/>
                  <a:pt x="2932311" y="2241"/>
                </a:cubicBezTo>
                <a:close/>
              </a:path>
            </a:pathLst>
          </a:custGeom>
        </p:spPr>
      </p:pic>
      <p:grpSp>
        <p:nvGrpSpPr>
          <p:cNvPr id="10" name="组合 9"/>
          <p:cNvGrpSpPr/>
          <p:nvPr userDrawn="1"/>
        </p:nvGrpSpPr>
        <p:grpSpPr>
          <a:xfrm>
            <a:off x="9753600" y="566798"/>
            <a:ext cx="1765300" cy="294216"/>
            <a:chOff x="660400" y="492126"/>
            <a:chExt cx="3257550" cy="542924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2" name="Freeform 6"/>
            <p:cNvSpPr/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3" name="Oval 7"/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18" name="任意多边形: 形状 17"/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19" name="直接连接符 18"/>
          <p:cNvCxnSpPr/>
          <p:nvPr userDrawn="1"/>
        </p:nvCxnSpPr>
        <p:spPr>
          <a:xfrm flipV="1">
            <a:off x="5187643" y="2859087"/>
            <a:ext cx="2087108" cy="3998914"/>
          </a:xfrm>
          <a:prstGeom prst="line">
            <a:avLst/>
          </a:prstGeom>
          <a:ln w="15875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54000">
                  <a:srgbClr val="FFC000"/>
                </a:gs>
                <a:gs pos="83000">
                  <a:srgbClr val="FB832D"/>
                </a:gs>
                <a:gs pos="100000">
                  <a:srgbClr val="EA5504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 userDrawn="1"/>
        </p:nvCxnSpPr>
        <p:spPr>
          <a:xfrm flipH="1" flipV="1">
            <a:off x="9037673" y="-9732"/>
            <a:ext cx="3187396" cy="628584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文本占位符 29"/>
          <p:cNvSpPr>
            <a:spLocks noGrp="1"/>
          </p:cNvSpPr>
          <p:nvPr>
            <p:ph type="body" sz="quarter" idx="12" hasCustomPrompt="1"/>
          </p:nvPr>
        </p:nvSpPr>
        <p:spPr>
          <a:xfrm>
            <a:off x="725076" y="2914028"/>
            <a:ext cx="4011188" cy="12201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buNone/>
              <a:defRPr lang="zh-CN" altLang="en-US" sz="1200" kern="2200" spc="18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添加文本点击添加文本</a:t>
            </a:r>
            <a:br>
              <a:rPr lang="en-US" altLang="zh-CN" dirty="0"/>
            </a:br>
            <a:r>
              <a:rPr lang="en-US" altLang="zh-CN" dirty="0"/>
              <a:t>……</a:t>
            </a:r>
            <a:endParaRPr lang="zh-CN" altLang="en-US" dirty="0"/>
          </a:p>
        </p:txBody>
      </p:sp>
      <p:sp>
        <p:nvSpPr>
          <p:cNvPr id="29" name="文本占位符 29"/>
          <p:cNvSpPr>
            <a:spLocks noGrp="1"/>
          </p:cNvSpPr>
          <p:nvPr>
            <p:ph type="body" sz="quarter" idx="15" hasCustomPrompt="1"/>
          </p:nvPr>
        </p:nvSpPr>
        <p:spPr>
          <a:xfrm>
            <a:off x="715643" y="2087900"/>
            <a:ext cx="607293" cy="564099"/>
          </a:xfrm>
          <a:prstGeom prst="rect">
            <a:avLst/>
          </a:prstGeom>
        </p:spPr>
        <p:txBody>
          <a:bodyPr anchor="ctr">
            <a:prstTxWarp prst="textPlain">
              <a:avLst/>
            </a:prstTxWarp>
            <a:noAutofit/>
          </a:bodyPr>
          <a:lstStyle>
            <a:lvl1pPr marL="0" indent="0" algn="l" defTabSz="914400" rtl="0" eaLnBrk="1" latinLnBrk="0" hangingPunct="1">
              <a:buNone/>
              <a:defRPr lang="zh-CN" altLang="en-US" sz="2400" b="0" kern="2200" spc="180" dirty="0">
                <a:solidFill>
                  <a:schemeClr val="accent1"/>
                </a:solidFill>
                <a:latin typeface="Impact" panose="020B0806030902050204" pitchFamily="34" charset="0"/>
                <a:ea typeface="微软雅黑" panose="020B050302020402020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01</a:t>
            </a:r>
            <a:endParaRPr lang="zh-CN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4.vml"/><Relationship Id="rId8" Type="http://schemas.openxmlformats.org/officeDocument/2006/relationships/tags" Target="../tags/tag8.xml"/><Relationship Id="rId7" Type="http://schemas.openxmlformats.org/officeDocument/2006/relationships/image" Target="../media/image2.emf"/><Relationship Id="rId6" Type="http://schemas.openxmlformats.org/officeDocument/2006/relationships/oleObject" Target="../embeddings/oleObject4.bin"/><Relationship Id="rId5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0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heme" Target="../theme/theme2.xml"/><Relationship Id="rId8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9.bin"/><Relationship Id="rId8" Type="http://schemas.openxmlformats.org/officeDocument/2006/relationships/tags" Target="../tags/tag17.xml"/><Relationship Id="rId7" Type="http://schemas.openxmlformats.org/officeDocument/2006/relationships/slideLayout" Target="../slideLayouts/slideLayout19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3" Type="http://schemas.openxmlformats.org/officeDocument/2006/relationships/theme" Target="../theme/theme3.xml"/><Relationship Id="rId12" Type="http://schemas.openxmlformats.org/officeDocument/2006/relationships/vmlDrawing" Target="../drawings/vmlDrawing9.vml"/><Relationship Id="rId11" Type="http://schemas.openxmlformats.org/officeDocument/2006/relationships/tags" Target="../tags/tag18.xml"/><Relationship Id="rId10" Type="http://schemas.openxmlformats.org/officeDocument/2006/relationships/image" Target="../media/image2.emf"/><Relationship Id="rId1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16.bin"/><Relationship Id="rId8" Type="http://schemas.openxmlformats.org/officeDocument/2006/relationships/tags" Target="../tags/tag28.xml"/><Relationship Id="rId7" Type="http://schemas.openxmlformats.org/officeDocument/2006/relationships/image" Target="../media/image18.emf"/><Relationship Id="rId6" Type="http://schemas.openxmlformats.org/officeDocument/2006/relationships/oleObject" Target="../embeddings/oleObject15.bin"/><Relationship Id="rId5" Type="http://schemas.openxmlformats.org/officeDocument/2006/relationships/tags" Target="../tags/tag27.xml"/><Relationship Id="rId4" Type="http://schemas.openxmlformats.org/officeDocument/2006/relationships/slideLayout" Target="../slideLayouts/slideLayout23.xml"/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3" Type="http://schemas.openxmlformats.org/officeDocument/2006/relationships/theme" Target="../theme/theme4.xml"/><Relationship Id="rId12" Type="http://schemas.openxmlformats.org/officeDocument/2006/relationships/vmlDrawing" Target="../drawings/vmlDrawing14.vml"/><Relationship Id="rId11" Type="http://schemas.openxmlformats.org/officeDocument/2006/relationships/tags" Target="../tags/tag29.xml"/><Relationship Id="rId10" Type="http://schemas.openxmlformats.org/officeDocument/2006/relationships/image" Target="../media/image2.emf"/><Relationship Id="rId1" Type="http://schemas.openxmlformats.org/officeDocument/2006/relationships/slideLayout" Target="../slideLayouts/slideLayout20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23.bin"/><Relationship Id="rId8" Type="http://schemas.openxmlformats.org/officeDocument/2006/relationships/tags" Target="../tags/tag39.xml"/><Relationship Id="rId7" Type="http://schemas.openxmlformats.org/officeDocument/2006/relationships/image" Target="../media/image18.emf"/><Relationship Id="rId6" Type="http://schemas.openxmlformats.org/officeDocument/2006/relationships/oleObject" Target="../embeddings/oleObject22.bin"/><Relationship Id="rId5" Type="http://schemas.openxmlformats.org/officeDocument/2006/relationships/tags" Target="../tags/tag38.xml"/><Relationship Id="rId4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3" Type="http://schemas.openxmlformats.org/officeDocument/2006/relationships/theme" Target="../theme/theme5.xml"/><Relationship Id="rId12" Type="http://schemas.openxmlformats.org/officeDocument/2006/relationships/vmlDrawing" Target="../drawings/vmlDrawing19.vml"/><Relationship Id="rId11" Type="http://schemas.openxmlformats.org/officeDocument/2006/relationships/tags" Target="../tags/tag40.xml"/><Relationship Id="rId10" Type="http://schemas.openxmlformats.org/officeDocument/2006/relationships/image" Target="../media/image2.emf"/><Relationship Id="rId1" Type="http://schemas.openxmlformats.org/officeDocument/2006/relationships/slideLayout" Target="../slideLayouts/slideLayout24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6.xml"/><Relationship Id="rId8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7" Type="http://schemas.openxmlformats.org/officeDocument/2006/relationships/theme" Target="../theme/theme6.xml"/><Relationship Id="rId46" Type="http://schemas.openxmlformats.org/officeDocument/2006/relationships/vmlDrawing" Target="../drawings/vmlDrawing24.vml"/><Relationship Id="rId45" Type="http://schemas.openxmlformats.org/officeDocument/2006/relationships/tags" Target="../tags/tag49.xml"/><Relationship Id="rId44" Type="http://schemas.openxmlformats.org/officeDocument/2006/relationships/image" Target="../media/image2.emf"/><Relationship Id="rId43" Type="http://schemas.openxmlformats.org/officeDocument/2006/relationships/oleObject" Target="../embeddings/oleObject28.bin"/><Relationship Id="rId42" Type="http://schemas.openxmlformats.org/officeDocument/2006/relationships/tags" Target="../tags/tag48.xml"/><Relationship Id="rId41" Type="http://schemas.openxmlformats.org/officeDocument/2006/relationships/slideLayout" Target="../slideLayouts/slideLayout68.xml"/><Relationship Id="rId4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31.xml"/><Relationship Id="rId39" Type="http://schemas.openxmlformats.org/officeDocument/2006/relationships/slideLayout" Target="../slideLayouts/slideLayout66.xml"/><Relationship Id="rId38" Type="http://schemas.openxmlformats.org/officeDocument/2006/relationships/slideLayout" Target="../slideLayouts/slideLayout65.xml"/><Relationship Id="rId37" Type="http://schemas.openxmlformats.org/officeDocument/2006/relationships/slideLayout" Target="../slideLayouts/slideLayout64.xml"/><Relationship Id="rId36" Type="http://schemas.openxmlformats.org/officeDocument/2006/relationships/slideLayout" Target="../slideLayouts/slideLayout63.xml"/><Relationship Id="rId35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61.xml"/><Relationship Id="rId33" Type="http://schemas.openxmlformats.org/officeDocument/2006/relationships/slideLayout" Target="../slideLayouts/slideLayout60.xml"/><Relationship Id="rId32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57.xml"/><Relationship Id="rId3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47.xml"/><Relationship Id="rId2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28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emf"/><Relationship Id="rId8" Type="http://schemas.openxmlformats.org/officeDocument/2006/relationships/oleObject" Target="../embeddings/oleObject32.bin"/><Relationship Id="rId7" Type="http://schemas.openxmlformats.org/officeDocument/2006/relationships/tags" Target="../tags/tag56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Relationship Id="rId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70.xml"/><Relationship Id="rId12" Type="http://schemas.openxmlformats.org/officeDocument/2006/relationships/theme" Target="../theme/theme7.xml"/><Relationship Id="rId11" Type="http://schemas.openxmlformats.org/officeDocument/2006/relationships/vmlDrawing" Target="../drawings/vmlDrawing28.vml"/><Relationship Id="rId10" Type="http://schemas.openxmlformats.org/officeDocument/2006/relationships/tags" Target="../tags/tag57.xml"/><Relationship Id="rId1" Type="http://schemas.openxmlformats.org/officeDocument/2006/relationships/slideLayout" Target="../slideLayouts/slideLayout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12700" imgH="12700" progId="TCLayout.ActiveDocument.1">
                  <p:embed/>
                </p:oleObj>
              </mc:Choice>
              <mc:Fallback>
                <p:oleObj name="think-cell Slide" r:id="rId6" imgW="12700" imgH="1270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655" indent="-18605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455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7255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1"/>
            <a:ext cx="12185496" cy="6855118"/>
          </a:xfrm>
          <a:prstGeom prst="rect">
            <a:avLst/>
          </a:prstGeom>
          <a:gradFill flip="none" rotWithShape="1">
            <a:gsLst>
              <a:gs pos="20000">
                <a:srgbClr val="FEF6F4">
                  <a:alpha val="96000"/>
                </a:srgbClr>
              </a:gs>
              <a:gs pos="33000">
                <a:srgbClr val="FFFCFB">
                  <a:alpha val="80000"/>
                </a:srgbClr>
              </a:gs>
              <a:gs pos="61000">
                <a:schemeClr val="bg1">
                  <a:alpha val="76000"/>
                </a:schemeClr>
              </a:gs>
              <a:gs pos="0">
                <a:srgbClr val="FDEEE9"/>
              </a:gs>
              <a:gs pos="100000">
                <a:schemeClr val="bg1">
                  <a:alpha val="76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723900" y="0"/>
            <a:ext cx="11000390" cy="97380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页面大标题字号建议（</a:t>
            </a:r>
            <a:r>
              <a:rPr lang="en-US" altLang="zh-CN" dirty="0"/>
              <a:t>28-36</a:t>
            </a:r>
            <a:r>
              <a:rPr lang="zh-CN" altLang="en-US" dirty="0"/>
              <a:t>）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0929256" y="6235700"/>
            <a:ext cx="5261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tint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fld id="{09321FF8-95CF-4FCD-B001-FA7673DD6BBC}" type="slidenum">
              <a:rPr lang="zh-CN" altLang="en-US" smtClean="0"/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j-cs"/>
        </a:defRPr>
      </a:lvl1pPr>
    </p:titleStyle>
    <p:bodyStyle>
      <a:lvl1pPr marL="514350" indent="-514350" algn="l" defTabSz="914400" rtl="0" eaLnBrk="1" latinLnBrk="0" hangingPunct="1">
        <a:lnSpc>
          <a:spcPct val="120000"/>
        </a:lnSpc>
        <a:spcBef>
          <a:spcPts val="1000"/>
        </a:spcBef>
        <a:buFont typeface="+mj-ea"/>
        <a:buAutoNum type="ea1JpnChsDbPeriod"/>
        <a:defRPr sz="20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1pPr>
      <a:lvl2pPr marL="800100" indent="-342900" algn="l" defTabSz="914400" rtl="0" eaLnBrk="1" latinLnBrk="0" hangingPunct="1">
        <a:lnSpc>
          <a:spcPct val="120000"/>
        </a:lnSpc>
        <a:spcBef>
          <a:spcPts val="500"/>
        </a:spcBef>
        <a:buFont typeface="+mj-lt"/>
        <a:buAutoNum type="arabicPeriod"/>
        <a:defRPr sz="18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2pPr>
      <a:lvl3pPr marL="1257300" indent="-342900" algn="l" defTabSz="914400" rtl="0" eaLnBrk="1" latinLnBrk="0" hangingPunct="1">
        <a:lnSpc>
          <a:spcPct val="120000"/>
        </a:lnSpc>
        <a:spcBef>
          <a:spcPts val="500"/>
        </a:spcBef>
        <a:buFont typeface="+mj-ea"/>
        <a:buAutoNum type="circleNumDbPlain"/>
        <a:defRPr sz="16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3pPr>
      <a:lvl4pPr marL="1714500" indent="-342900" algn="l" defTabSz="914400" rtl="0" eaLnBrk="1" latinLnBrk="0" hangingPunct="1">
        <a:lnSpc>
          <a:spcPct val="120000"/>
        </a:lnSpc>
        <a:spcBef>
          <a:spcPts val="500"/>
        </a:spcBef>
        <a:buFont typeface="+mj-lt"/>
        <a:buAutoNum type="alphaLcParenR"/>
        <a:defRPr sz="14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标题占位符 1"/>
          <p:cNvSpPr>
            <a:spLocks noGrp="1"/>
          </p:cNvSpPr>
          <p:nvPr>
            <p:ph type="title"/>
          </p:nvPr>
        </p:nvSpPr>
        <p:spPr>
          <a:xfrm>
            <a:off x="193674" y="144077"/>
            <a:ext cx="11664951" cy="54743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主题</a:t>
            </a:r>
            <a:endParaRPr lang="zh-CN" altLang="en-US" dirty="0"/>
          </a:p>
        </p:txBody>
      </p:sp>
      <p:sp>
        <p:nvSpPr>
          <p:cNvPr id="11" name="文本占位符 2"/>
          <p:cNvSpPr>
            <a:spLocks noGrp="1"/>
          </p:cNvSpPr>
          <p:nvPr>
            <p:ph type="body" idx="1"/>
          </p:nvPr>
        </p:nvSpPr>
        <p:spPr>
          <a:xfrm>
            <a:off x="269873" y="1123950"/>
            <a:ext cx="11588751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13" name="日期占位符 3"/>
          <p:cNvSpPr>
            <a:spLocks noGrp="1"/>
          </p:cNvSpPr>
          <p:nvPr>
            <p:ph type="dt" sz="half" idx="2"/>
          </p:nvPr>
        </p:nvSpPr>
        <p:spPr>
          <a:xfrm>
            <a:off x="5369980" y="6461057"/>
            <a:ext cx="1388536" cy="206381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14" name="页脚占位符 4"/>
          <p:cNvSpPr>
            <a:spLocks noGrp="1"/>
          </p:cNvSpPr>
          <p:nvPr>
            <p:ph type="ftr" sz="quarter" idx="3"/>
          </p:nvPr>
        </p:nvSpPr>
        <p:spPr>
          <a:xfrm>
            <a:off x="269873" y="6461057"/>
            <a:ext cx="4886327" cy="215839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193674" y="806516"/>
            <a:ext cx="1166495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300883" y="6381684"/>
            <a:ext cx="2743200" cy="365125"/>
          </a:xfrm>
        </p:spPr>
        <p:txBody>
          <a:bodyPr/>
          <a:lstStyle>
            <a:lvl1pPr algn="r">
              <a:defRPr sz="1600"/>
            </a:lvl1pPr>
          </a:lstStyle>
          <a:p>
            <a:fld id="{D174682D-7201-4549-AB46-A3B3CC68F057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655" indent="-18605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455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7255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6" imgW="12700" imgH="12700" progId="TCLayout.ActiveDocument.1">
                  <p:embed/>
                </p:oleObj>
              </mc:Choice>
              <mc:Fallback>
                <p:oleObj name="think-cell 幻灯片" r:id="rId6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579382" y="6437745"/>
            <a:ext cx="612617" cy="42025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dirty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60000" y="977153"/>
            <a:ext cx="10934700" cy="50318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</p:txBody>
      </p:sp>
      <p:cxnSp>
        <p:nvCxnSpPr>
          <p:cNvPr id="6" name="直接连接符 5"/>
          <p:cNvCxnSpPr/>
          <p:nvPr/>
        </p:nvCxnSpPr>
        <p:spPr>
          <a:xfrm>
            <a:off x="0" y="6390900"/>
            <a:ext cx="12192000" cy="0"/>
          </a:xfrm>
          <a:prstGeom prst="line">
            <a:avLst/>
          </a:prstGeom>
          <a:ln w="12700" cap="rnd">
            <a:solidFill>
              <a:schemeClr val="accent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80" indent="-17272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75" indent="-165735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6" imgW="12700" imgH="12700" progId="TCLayout.ActiveDocument.1">
                  <p:embed/>
                </p:oleObj>
              </mc:Choice>
              <mc:Fallback>
                <p:oleObj name="think-cell 幻灯片" r:id="rId6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579382" y="6437745"/>
            <a:ext cx="612617" cy="42025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dirty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60000" y="977153"/>
            <a:ext cx="10934700" cy="50318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</p:txBody>
      </p:sp>
      <p:cxnSp>
        <p:nvCxnSpPr>
          <p:cNvPr id="6" name="直接连接符 5"/>
          <p:cNvCxnSpPr/>
          <p:nvPr/>
        </p:nvCxnSpPr>
        <p:spPr>
          <a:xfrm>
            <a:off x="0" y="6390900"/>
            <a:ext cx="12192000" cy="0"/>
          </a:xfrm>
          <a:prstGeom prst="line">
            <a:avLst/>
          </a:prstGeom>
          <a:ln w="12700" cap="rnd">
            <a:solidFill>
              <a:schemeClr val="accent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80" indent="-17272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75" indent="-165735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4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3" imgW="12700" imgH="12700" progId="TCLayout.ActiveDocument.1">
                  <p:embed/>
                </p:oleObj>
              </mc:Choice>
              <mc:Fallback>
                <p:oleObj name="think-cell Slide" r:id="rId43" imgW="12700" imgH="1270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n-cs"/>
              <a:sym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700" r:id="rId20"/>
    <p:sldLayoutId id="2147483701" r:id="rId21"/>
    <p:sldLayoutId id="2147483702" r:id="rId22"/>
    <p:sldLayoutId id="2147483703" r:id="rId23"/>
    <p:sldLayoutId id="2147483704" r:id="rId24"/>
    <p:sldLayoutId id="2147483705" r:id="rId25"/>
    <p:sldLayoutId id="2147483706" r:id="rId26"/>
    <p:sldLayoutId id="2147483707" r:id="rId27"/>
    <p:sldLayoutId id="2147483708" r:id="rId28"/>
    <p:sldLayoutId id="2147483709" r:id="rId29"/>
    <p:sldLayoutId id="2147483710" r:id="rId30"/>
    <p:sldLayoutId id="2147483711" r:id="rId31"/>
    <p:sldLayoutId id="2147483712" r:id="rId32"/>
    <p:sldLayoutId id="2147483713" r:id="rId33"/>
    <p:sldLayoutId id="2147483714" r:id="rId34"/>
    <p:sldLayoutId id="2147483715" r:id="rId35"/>
    <p:sldLayoutId id="2147483716" r:id="rId36"/>
    <p:sldLayoutId id="2147483717" r:id="rId37"/>
    <p:sldLayoutId id="2147483718" r:id="rId38"/>
    <p:sldLayoutId id="2147483719" r:id="rId39"/>
    <p:sldLayoutId id="2147483720" r:id="rId40"/>
    <p:sldLayoutId id="2147483721" r:id="rId4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655" indent="-18605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455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7255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8" imgW="12700" imgH="12700" progId="TCLayout.ActiveDocument.1">
                  <p:embed/>
                </p:oleObj>
              </mc:Choice>
              <mc:Fallback>
                <p:oleObj name="think-cell Slide" r:id="rId8" imgW="12700" imgH="1270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655" indent="-18605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455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7255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6.xml"/><Relationship Id="rId1" Type="http://schemas.openxmlformats.org/officeDocument/2006/relationships/tags" Target="../tags/tag5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image" Target="../media/image21.png"/><Relationship Id="rId1" Type="http://schemas.openxmlformats.org/officeDocument/2006/relationships/tags" Target="../tags/tag6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image" Target="../media/image21.png"/><Relationship Id="rId1" Type="http://schemas.openxmlformats.org/officeDocument/2006/relationships/tags" Target="../tags/tag6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6.xml"/><Relationship Id="rId1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7.xml"/><Relationship Id="rId1" Type="http://schemas.openxmlformats.org/officeDocument/2006/relationships/image" Target="../media/image20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image" Target="../media/image21.png"/><Relationship Id="rId1" Type="http://schemas.openxmlformats.org/officeDocument/2006/relationships/tags" Target="../tags/tag6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8.xml"/><Relationship Id="rId1" Type="http://schemas.openxmlformats.org/officeDocument/2006/relationships/image" Target="../media/image22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image" Target="../media/image21.png"/><Relationship Id="rId1" Type="http://schemas.openxmlformats.org/officeDocument/2006/relationships/tags" Target="../tags/tag5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6.xml"/><Relationship Id="rId1" Type="http://schemas.openxmlformats.org/officeDocument/2006/relationships/image" Target="../media/image25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8.xml"/><Relationship Id="rId1" Type="http://schemas.openxmlformats.org/officeDocument/2006/relationships/image" Target="../media/image22.jpe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6.xml"/><Relationship Id="rId1" Type="http://schemas.openxmlformats.org/officeDocument/2006/relationships/image" Target="../media/image26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8.xml"/><Relationship Id="rId1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8.xml"/><Relationship Id="rId1" Type="http://schemas.openxmlformats.org/officeDocument/2006/relationships/image" Target="../media/image22.jpeg"/></Relationships>
</file>

<file path=ppt/slides/_rels/slide4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1.xml"/><Relationship Id="rId3" Type="http://schemas.openxmlformats.org/officeDocument/2006/relationships/image" Target="../media/image27.png"/><Relationship Id="rId2" Type="http://schemas.openxmlformats.org/officeDocument/2006/relationships/image" Target="../media/image21.png"/><Relationship Id="rId1" Type="http://schemas.openxmlformats.org/officeDocument/2006/relationships/tags" Target="../tags/tag6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42.xml.rels><?xml version="1.0" encoding="UTF-8" standalone="yes"?>
<Relationships xmlns="http://schemas.openxmlformats.org/package/2006/relationships"><Relationship Id="rId9" Type="http://schemas.openxmlformats.org/officeDocument/2006/relationships/tags" Target="../tags/tag72.xml"/><Relationship Id="rId8" Type="http://schemas.openxmlformats.org/officeDocument/2006/relationships/tags" Target="../tags/tag71.xml"/><Relationship Id="rId7" Type="http://schemas.openxmlformats.org/officeDocument/2006/relationships/tags" Target="../tags/tag70.x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4" Type="http://schemas.openxmlformats.org/officeDocument/2006/relationships/tags" Target="../tags/tag67.xml"/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8" Type="http://schemas.openxmlformats.org/officeDocument/2006/relationships/slideLayout" Target="../slideLayouts/slideLayout36.xml"/><Relationship Id="rId17" Type="http://schemas.openxmlformats.org/officeDocument/2006/relationships/tags" Target="../tags/tag80.xml"/><Relationship Id="rId16" Type="http://schemas.openxmlformats.org/officeDocument/2006/relationships/tags" Target="../tags/tag79.xml"/><Relationship Id="rId15" Type="http://schemas.openxmlformats.org/officeDocument/2006/relationships/tags" Target="../tags/tag78.xml"/><Relationship Id="rId14" Type="http://schemas.openxmlformats.org/officeDocument/2006/relationships/tags" Target="../tags/tag77.xml"/><Relationship Id="rId13" Type="http://schemas.openxmlformats.org/officeDocument/2006/relationships/tags" Target="../tags/tag76.xml"/><Relationship Id="rId12" Type="http://schemas.openxmlformats.org/officeDocument/2006/relationships/tags" Target="../tags/tag75.xml"/><Relationship Id="rId11" Type="http://schemas.openxmlformats.org/officeDocument/2006/relationships/tags" Target="../tags/tag74.xml"/><Relationship Id="rId10" Type="http://schemas.openxmlformats.org/officeDocument/2006/relationships/tags" Target="../tags/tag73.xml"/><Relationship Id="rId1" Type="http://schemas.openxmlformats.org/officeDocument/2006/relationships/tags" Target="../tags/tag6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6.xml"/><Relationship Id="rId1" Type="http://schemas.openxmlformats.org/officeDocument/2006/relationships/image" Target="../media/image28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6.xml"/><Relationship Id="rId1" Type="http://schemas.openxmlformats.org/officeDocument/2006/relationships/image" Target="../media/image29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6.xml"/><Relationship Id="rId1" Type="http://schemas.openxmlformats.org/officeDocument/2006/relationships/image" Target="../media/image30.png"/></Relationships>
</file>

<file path=ppt/slides/_rels/slide4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9.vml"/><Relationship Id="rId5" Type="http://schemas.openxmlformats.org/officeDocument/2006/relationships/slideLayout" Target="../slideLayouts/slideLayout36.xml"/><Relationship Id="rId4" Type="http://schemas.openxmlformats.org/officeDocument/2006/relationships/image" Target="../media/image32.wmf"/><Relationship Id="rId3" Type="http://schemas.openxmlformats.org/officeDocument/2006/relationships/oleObject" Target="../embeddings/oleObject34.bin"/><Relationship Id="rId2" Type="http://schemas.openxmlformats.org/officeDocument/2006/relationships/image" Target="../media/image31.wmf"/><Relationship Id="rId1" Type="http://schemas.openxmlformats.org/officeDocument/2006/relationships/oleObject" Target="../embeddings/oleObject33.bin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8.xml"/><Relationship Id="rId1" Type="http://schemas.openxmlformats.org/officeDocument/2006/relationships/image" Target="../media/image22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6.xml"/><Relationship Id="rId1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633198" y="1840475"/>
            <a:ext cx="7241433" cy="2802791"/>
          </a:xfrm>
        </p:spPr>
        <p:txBody>
          <a:bodyPr>
            <a:normAutofit/>
          </a:bodyPr>
          <a:lstStyle/>
          <a:p>
            <a:r>
              <a:rPr sz="4000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智控</a:t>
            </a:r>
            <a:r>
              <a:rPr lang="en-US" altLang="zh-CN" sz="4000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Wingdings 2" panose="05020102010507070707" charset="0"/>
              </a:rPr>
              <a:t></a:t>
            </a:r>
            <a:r>
              <a:rPr sz="4000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驭险：保险风控数据挖掘精进之道</a:t>
            </a:r>
            <a:endParaRPr sz="4000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45174" y="2046401"/>
            <a:ext cx="5306096" cy="57955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10604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创课计划 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——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53415" y="4398010"/>
            <a:ext cx="2753360" cy="62992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spAutoFit/>
          </a:bodyPr>
          <a:p>
            <a:pPr>
              <a:lnSpc>
                <a:spcPct val="125000"/>
              </a:lnSpc>
            </a:pPr>
            <a:r>
              <a:rPr lang="zh-CN" altLang="en-US" sz="1400" b="1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姓名：黄移军</a:t>
            </a:r>
            <a:endParaRPr lang="zh-CN" altLang="en-US" sz="1400" b="1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>
              <a:lnSpc>
                <a:spcPct val="125000"/>
              </a:lnSpc>
            </a:pPr>
            <a:r>
              <a:rPr lang="zh-CN" altLang="en-US" sz="1400" b="1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部门：架构与数据管理团队</a:t>
            </a:r>
            <a:endParaRPr lang="en-US" altLang="zh-CN" sz="1400" b="1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666751" y="1130301"/>
            <a:ext cx="10858500" cy="4749985"/>
            <a:chOff x="666750" y="1130300"/>
            <a:chExt cx="10858500" cy="4749985"/>
          </a:xfrm>
        </p:grpSpPr>
        <p:grpSp>
          <p:nvGrpSpPr>
            <p:cNvPr id="3" name="组合 2"/>
            <p:cNvGrpSpPr/>
            <p:nvPr/>
          </p:nvGrpSpPr>
          <p:grpSpPr>
            <a:xfrm>
              <a:off x="673100" y="2298700"/>
              <a:ext cx="10845800" cy="3581585"/>
              <a:chOff x="673100" y="2222500"/>
              <a:chExt cx="10845800" cy="3581585"/>
            </a:xfrm>
          </p:grpSpPr>
          <p:grpSp>
            <p:nvGrpSpPr>
              <p:cNvPr id="4" name="组合 3"/>
              <p:cNvGrpSpPr/>
              <p:nvPr/>
            </p:nvGrpSpPr>
            <p:grpSpPr>
              <a:xfrm>
                <a:off x="4297086" y="2222500"/>
                <a:ext cx="3597829" cy="3581585"/>
                <a:chOff x="4764937" y="1638207"/>
                <a:chExt cx="3597829" cy="3581585"/>
              </a:xfrm>
            </p:grpSpPr>
            <p:grpSp>
              <p:nvGrpSpPr>
                <p:cNvPr id="5" name="组合 4"/>
                <p:cNvGrpSpPr/>
                <p:nvPr/>
              </p:nvGrpSpPr>
              <p:grpSpPr>
                <a:xfrm>
                  <a:off x="4764937" y="3538357"/>
                  <a:ext cx="1681435" cy="1681435"/>
                  <a:chOff x="3253549" y="4037893"/>
                  <a:chExt cx="1280351" cy="1280351"/>
                </a:xfrm>
              </p:grpSpPr>
              <p:sp>
                <p:nvSpPr>
                  <p:cNvPr id="13" name="泪滴形 12"/>
                  <p:cNvSpPr/>
                  <p:nvPr/>
                </p:nvSpPr>
                <p:spPr>
                  <a:xfrm>
                    <a:off x="3253549" y="4037893"/>
                    <a:ext cx="1280351" cy="1280351"/>
                  </a:xfrm>
                  <a:prstGeom prst="teardrop">
                    <a:avLst/>
                  </a:prstGeom>
                  <a:solidFill>
                    <a:schemeClr val="accent1"/>
                  </a:solidFill>
                  <a:ln w="12700" cap="rnd">
                    <a:noFill/>
                    <a:prstDash val="solid"/>
                    <a:round/>
                  </a:ln>
                  <a:effectLst>
                    <a:outerShdw blurRad="254000" dist="127000" algn="ctr" rotWithShape="0">
                      <a:schemeClr val="accent1">
                        <a:alpha val="32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normAutofit/>
                  </a:bodyPr>
                  <a:p>
                    <a:pPr algn="ctr" defTabSz="914400"/>
                    <a:endParaRPr lang="zh-CN" altLang="en-US" sz="2000" b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6" name="椭圆 5"/>
                  <p:cNvSpPr/>
                  <p:nvPr/>
                </p:nvSpPr>
                <p:spPr>
                  <a:xfrm>
                    <a:off x="3432462" y="4216806"/>
                    <a:ext cx="922525" cy="922525"/>
                  </a:xfrm>
                  <a:prstGeom prst="ellipse">
                    <a:avLst/>
                  </a:prstGeom>
                  <a:solidFill>
                    <a:schemeClr val="lt1">
                      <a:lumMod val="10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p>
                    <a:pPr algn="ctr"/>
                    <a:r>
                      <a:rPr lang="en-US" altLang="zh-CN" sz="2400" b="1" dirty="0">
                        <a:solidFill>
                          <a:schemeClr val="accent2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rPr>
                      <a:t>02</a:t>
                    </a:r>
                    <a:endParaRPr lang="zh-CN" altLang="en-US" sz="2400" b="1" dirty="0">
                      <a:solidFill>
                        <a:schemeClr val="accent2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endParaRPr>
                  </a:p>
                </p:txBody>
              </p:sp>
            </p:grpSp>
            <p:grpSp>
              <p:nvGrpSpPr>
                <p:cNvPr id="7" name="组合 6"/>
                <p:cNvGrpSpPr/>
                <p:nvPr/>
              </p:nvGrpSpPr>
              <p:grpSpPr>
                <a:xfrm flipH="1">
                  <a:off x="6681331" y="3538357"/>
                  <a:ext cx="1681435" cy="1681435"/>
                  <a:chOff x="3253549" y="4037893"/>
                  <a:chExt cx="1280351" cy="1280351"/>
                </a:xfrm>
              </p:grpSpPr>
              <p:sp>
                <p:nvSpPr>
                  <p:cNvPr id="11" name="泪滴形 10"/>
                  <p:cNvSpPr/>
                  <p:nvPr/>
                </p:nvSpPr>
                <p:spPr>
                  <a:xfrm>
                    <a:off x="3253549" y="4037893"/>
                    <a:ext cx="1280351" cy="1280351"/>
                  </a:xfrm>
                  <a:prstGeom prst="teardrop">
                    <a:avLst/>
                  </a:prstGeom>
                  <a:solidFill>
                    <a:schemeClr val="accent2"/>
                  </a:solidFill>
                  <a:ln w="12700" cap="rnd">
                    <a:noFill/>
                    <a:prstDash val="solid"/>
                    <a:round/>
                  </a:ln>
                  <a:effectLst>
                    <a:outerShdw blurRad="254000" dist="127000" algn="ctr" rotWithShape="0">
                      <a:schemeClr val="accent2">
                        <a:alpha val="32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normAutofit/>
                  </a:bodyPr>
                  <a:p>
                    <a:pPr algn="ctr" defTabSz="914400"/>
                    <a:endParaRPr lang="zh-CN" altLang="en-US" sz="2000" b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6" name="椭圆 15"/>
                  <p:cNvSpPr/>
                  <p:nvPr/>
                </p:nvSpPr>
                <p:spPr>
                  <a:xfrm>
                    <a:off x="3432462" y="4216806"/>
                    <a:ext cx="922525" cy="922525"/>
                  </a:xfrm>
                  <a:prstGeom prst="ellipse">
                    <a:avLst/>
                  </a:prstGeom>
                  <a:solidFill>
                    <a:schemeClr val="lt1">
                      <a:lumMod val="10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p>
                    <a:pPr algn="ctr"/>
                    <a:r>
                      <a:rPr lang="en-US" altLang="zh-CN" sz="2400" b="1" dirty="0">
                        <a:solidFill>
                          <a:schemeClr val="accent2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rPr>
                      <a:t>04</a:t>
                    </a:r>
                    <a:endParaRPr lang="zh-CN" altLang="en-US" sz="2400" b="1" dirty="0">
                      <a:solidFill>
                        <a:schemeClr val="accent2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endParaRPr>
                  </a:p>
                </p:txBody>
              </p:sp>
            </p:grpSp>
            <p:grpSp>
              <p:nvGrpSpPr>
                <p:cNvPr id="20" name="组合 19"/>
                <p:cNvGrpSpPr/>
                <p:nvPr/>
              </p:nvGrpSpPr>
              <p:grpSpPr>
                <a:xfrm flipV="1">
                  <a:off x="4764937" y="1638207"/>
                  <a:ext cx="1681435" cy="1681435"/>
                  <a:chOff x="3253549" y="4037893"/>
                  <a:chExt cx="1280351" cy="1280351"/>
                </a:xfrm>
              </p:grpSpPr>
              <p:sp>
                <p:nvSpPr>
                  <p:cNvPr id="21" name="泪滴形 20"/>
                  <p:cNvSpPr/>
                  <p:nvPr/>
                </p:nvSpPr>
                <p:spPr>
                  <a:xfrm>
                    <a:off x="3253549" y="4037893"/>
                    <a:ext cx="1280351" cy="1280351"/>
                  </a:xfrm>
                  <a:prstGeom prst="teardrop">
                    <a:avLst/>
                  </a:prstGeom>
                  <a:solidFill>
                    <a:schemeClr val="accent2"/>
                  </a:solidFill>
                  <a:ln w="12700" cap="rnd">
                    <a:noFill/>
                    <a:prstDash val="solid"/>
                    <a:round/>
                  </a:ln>
                  <a:effectLst>
                    <a:outerShdw blurRad="254000" dist="127000" algn="ctr" rotWithShape="0">
                      <a:schemeClr val="accent2">
                        <a:alpha val="32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normAutofit/>
                  </a:bodyPr>
                  <a:p>
                    <a:pPr algn="ctr" defTabSz="914400"/>
                    <a:endParaRPr lang="zh-CN" altLang="en-US" sz="2000" b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26" name="椭圆 25"/>
                  <p:cNvSpPr/>
                  <p:nvPr/>
                </p:nvSpPr>
                <p:spPr>
                  <a:xfrm flipV="1">
                    <a:off x="3432462" y="4216806"/>
                    <a:ext cx="922525" cy="922525"/>
                  </a:xfrm>
                  <a:prstGeom prst="ellipse">
                    <a:avLst/>
                  </a:prstGeom>
                  <a:solidFill>
                    <a:schemeClr val="lt1">
                      <a:lumMod val="10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p>
                    <a:pPr algn="ctr"/>
                    <a:r>
                      <a:rPr lang="en-US" altLang="zh-CN" sz="2400" b="1" dirty="0">
                        <a:solidFill>
                          <a:schemeClr val="accent2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rPr>
                      <a:t>01</a:t>
                    </a:r>
                    <a:endParaRPr lang="zh-CN" altLang="en-US" sz="2400" b="1" dirty="0">
                      <a:solidFill>
                        <a:schemeClr val="accent2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endParaRPr>
                  </a:p>
                </p:txBody>
              </p:sp>
            </p:grpSp>
            <p:grpSp>
              <p:nvGrpSpPr>
                <p:cNvPr id="27" name="组合 26"/>
                <p:cNvGrpSpPr/>
                <p:nvPr/>
              </p:nvGrpSpPr>
              <p:grpSpPr>
                <a:xfrm flipH="1" flipV="1">
                  <a:off x="6681331" y="1638207"/>
                  <a:ext cx="1681435" cy="1681435"/>
                  <a:chOff x="3253549" y="4037893"/>
                  <a:chExt cx="1280351" cy="1280351"/>
                </a:xfrm>
              </p:grpSpPr>
              <p:sp>
                <p:nvSpPr>
                  <p:cNvPr id="30" name="泪滴形 29"/>
                  <p:cNvSpPr/>
                  <p:nvPr/>
                </p:nvSpPr>
                <p:spPr>
                  <a:xfrm>
                    <a:off x="3253549" y="4037893"/>
                    <a:ext cx="1280351" cy="1280351"/>
                  </a:xfrm>
                  <a:prstGeom prst="teardrop">
                    <a:avLst/>
                  </a:prstGeom>
                  <a:solidFill>
                    <a:schemeClr val="accent1"/>
                  </a:solidFill>
                  <a:ln w="12700" cap="rnd">
                    <a:noFill/>
                    <a:prstDash val="solid"/>
                    <a:round/>
                  </a:ln>
                  <a:effectLst>
                    <a:outerShdw blurRad="254000" dist="127000" algn="ctr" rotWithShape="0">
                      <a:schemeClr val="accent1">
                        <a:alpha val="32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normAutofit/>
                  </a:bodyPr>
                  <a:p>
                    <a:pPr algn="ctr" defTabSz="914400"/>
                    <a:endParaRPr lang="zh-CN" altLang="en-US" sz="2000" b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31" name="椭圆 30"/>
                  <p:cNvSpPr/>
                  <p:nvPr/>
                </p:nvSpPr>
                <p:spPr>
                  <a:xfrm flipV="1">
                    <a:off x="3432462" y="4216806"/>
                    <a:ext cx="922525" cy="922525"/>
                  </a:xfrm>
                  <a:prstGeom prst="ellipse">
                    <a:avLst/>
                  </a:prstGeom>
                  <a:solidFill>
                    <a:schemeClr val="lt1">
                      <a:lumMod val="10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p>
                    <a:pPr algn="ctr"/>
                    <a:r>
                      <a:rPr lang="en-US" altLang="zh-CN" sz="2400" b="1" dirty="0">
                        <a:solidFill>
                          <a:schemeClr val="accent2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rPr>
                      <a:t>03</a:t>
                    </a:r>
                    <a:endParaRPr lang="zh-CN" altLang="en-US" sz="2400" b="1" dirty="0">
                      <a:solidFill>
                        <a:schemeClr val="accent2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endParaRPr>
                  </a:p>
                </p:txBody>
              </p:sp>
            </p:grpSp>
          </p:grpSp>
          <p:sp>
            <p:nvSpPr>
              <p:cNvPr id="33" name="文本框 32"/>
              <p:cNvSpPr txBox="1"/>
              <p:nvPr/>
            </p:nvSpPr>
            <p:spPr>
              <a:xfrm flipH="1">
                <a:off x="8129874" y="2638425"/>
                <a:ext cx="3389026" cy="705051"/>
              </a:xfrm>
              <a:prstGeom prst="rect">
                <a:avLst/>
              </a:prstGeom>
            </p:spPr>
            <p:txBody>
              <a:bodyPr wrap="square" anchor="ctr" anchorCtr="0">
                <a:normAutofit/>
              </a:bodyPr>
              <a:p>
                <a:pPr algn="l"/>
                <a:r>
                  <a:rPr lang="zh-CN" altLang="en-US" b="1" dirty="0"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招式三</a:t>
                </a:r>
                <a:endParaRPr lang="zh-CN" altLang="en-US" b="1" dirty="0"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  <a:p>
                <a:pPr algn="l"/>
                <a:r>
                  <a:rPr lang="zh-CN" altLang="en-US" b="1" dirty="0"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融合</a:t>
                </a:r>
                <a:r>
                  <a:rPr lang="zh-CN" altLang="en-US" b="1" dirty="0"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模型：</a:t>
                </a:r>
                <a:r>
                  <a:rPr lang="en-US" altLang="zh-CN" b="1" dirty="0"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比赛王道之选</a:t>
                </a:r>
                <a:endParaRPr lang="en-US" altLang="zh-CN" b="1" dirty="0">
                  <a:latin typeface="Arial" panose="020B0604020202020204" pitchFamily="34" charset="0"/>
                  <a:ea typeface="华文楷体" panose="02010600040101010101" pitchFamily="2" charset="-122"/>
                  <a:sym typeface="+mn-ea"/>
                </a:endParaRPr>
              </a:p>
            </p:txBody>
          </p:sp>
          <p:sp>
            <p:nvSpPr>
              <p:cNvPr id="38" name="文本框 37"/>
              <p:cNvSpPr txBox="1"/>
              <p:nvPr/>
            </p:nvSpPr>
            <p:spPr>
              <a:xfrm flipH="1">
                <a:off x="8129874" y="4672689"/>
                <a:ext cx="3389026" cy="705051"/>
              </a:xfrm>
              <a:prstGeom prst="rect">
                <a:avLst/>
              </a:prstGeom>
            </p:spPr>
            <p:txBody>
              <a:bodyPr wrap="square" anchor="b" anchorCtr="0">
                <a:normAutofit/>
              </a:bodyPr>
              <a:p>
                <a:pPr algn="l"/>
                <a:r>
                  <a:rPr lang="zh-CN" altLang="en-US" b="1" dirty="0">
                    <a:solidFill>
                      <a:srgbClr val="F3774B"/>
                    </a:solidFill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招式四</a:t>
                </a:r>
                <a:endParaRPr lang="zh-CN" altLang="en-US" b="1" dirty="0">
                  <a:solidFill>
                    <a:srgbClr val="F3774B"/>
                  </a:solidFill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  <a:p>
                <a:pPr algn="l"/>
                <a:r>
                  <a:rPr lang="zh-CN" altLang="en-US" b="1" dirty="0">
                    <a:solidFill>
                      <a:srgbClr val="F3774B"/>
                    </a:solidFill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觅迹同源：相似样本寻觅</a:t>
                </a:r>
                <a:endParaRPr lang="zh-CN" altLang="en-US" b="1" dirty="0">
                  <a:solidFill>
                    <a:srgbClr val="F3774B"/>
                  </a:solidFill>
                  <a:latin typeface="Arial" panose="020B0604020202020204" pitchFamily="34" charset="0"/>
                  <a:ea typeface="华文楷体" panose="02010600040101010101" pitchFamily="2" charset="-122"/>
                  <a:sym typeface="+mn-ea"/>
                </a:endParaRPr>
              </a:p>
            </p:txBody>
          </p:sp>
          <p:sp>
            <p:nvSpPr>
              <p:cNvPr id="42" name="文本框 41"/>
              <p:cNvSpPr txBox="1"/>
              <p:nvPr/>
            </p:nvSpPr>
            <p:spPr>
              <a:xfrm flipH="1">
                <a:off x="673100" y="2638425"/>
                <a:ext cx="3389026" cy="705051"/>
              </a:xfrm>
              <a:prstGeom prst="rect">
                <a:avLst/>
              </a:prstGeom>
            </p:spPr>
            <p:txBody>
              <a:bodyPr wrap="square" anchor="ctr" anchorCtr="0">
                <a:normAutofit/>
              </a:bodyPr>
              <a:p>
                <a:pPr algn="r"/>
                <a:r>
                  <a:rPr lang="zh-CN" altLang="en-US" b="1" dirty="0"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招式一</a:t>
                </a:r>
                <a:endParaRPr lang="zh-CN" altLang="en-US" b="1" dirty="0">
                  <a:latin typeface="Arial" panose="020B0604020202020204" pitchFamily="34" charset="0"/>
                  <a:ea typeface="华文楷体" panose="02010600040101010101" pitchFamily="2" charset="-122"/>
                  <a:sym typeface="+mn-ea"/>
                </a:endParaRPr>
              </a:p>
              <a:p>
                <a:pPr algn="r"/>
                <a:r>
                  <a:rPr lang="zh-CN" altLang="en-US" b="1" dirty="0"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级联思想：模型链式优化</a:t>
                </a:r>
                <a:endParaRPr lang="zh-CN" altLang="en-US" b="1" dirty="0">
                  <a:latin typeface="Arial" panose="020B0604020202020204" pitchFamily="34" charset="0"/>
                  <a:ea typeface="华文楷体" panose="02010600040101010101" pitchFamily="2" charset="-122"/>
                  <a:sym typeface="+mn-ea"/>
                </a:endParaRPr>
              </a:p>
            </p:txBody>
          </p:sp>
          <p:sp>
            <p:nvSpPr>
              <p:cNvPr id="47" name="文本框 46"/>
              <p:cNvSpPr txBox="1"/>
              <p:nvPr/>
            </p:nvSpPr>
            <p:spPr>
              <a:xfrm flipH="1">
                <a:off x="673100" y="4672689"/>
                <a:ext cx="3389026" cy="705051"/>
              </a:xfrm>
              <a:prstGeom prst="rect">
                <a:avLst/>
              </a:prstGeom>
            </p:spPr>
            <p:txBody>
              <a:bodyPr wrap="square" anchor="ctr" anchorCtr="0">
                <a:normAutofit/>
              </a:bodyPr>
              <a:p>
                <a:pPr algn="r"/>
                <a:r>
                  <a:rPr lang="zh-CN" altLang="en-US" b="1" dirty="0">
                    <a:solidFill>
                      <a:srgbClr val="F3774B"/>
                    </a:solidFill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招式二</a:t>
                </a:r>
                <a:endParaRPr lang="zh-CN" altLang="en-US" b="1" dirty="0">
                  <a:solidFill>
                    <a:srgbClr val="F3774B"/>
                  </a:solidFill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  <a:p>
                <a:pPr algn="r"/>
                <a:r>
                  <a:rPr lang="zh-CN" altLang="en-US" b="1" dirty="0">
                    <a:solidFill>
                      <a:srgbClr val="F3774B"/>
                    </a:solidFill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挖掘规则：强规则探索</a:t>
                </a:r>
                <a:endParaRPr lang="zh-CN" altLang="en-US" b="1" dirty="0">
                  <a:solidFill>
                    <a:srgbClr val="F3774B"/>
                  </a:solidFill>
                  <a:latin typeface="Arial" panose="020B0604020202020204" pitchFamily="34" charset="0"/>
                  <a:ea typeface="华文楷体" panose="02010600040101010101" pitchFamily="2" charset="-122"/>
                  <a:sym typeface="+mn-ea"/>
                </a:endParaRPr>
              </a:p>
            </p:txBody>
          </p:sp>
        </p:grpSp>
        <p:sp>
          <p:nvSpPr>
            <p:cNvPr id="50" name="矩形 49"/>
            <p:cNvSpPr/>
            <p:nvPr/>
          </p:nvSpPr>
          <p:spPr>
            <a:xfrm>
              <a:off x="666750" y="1130300"/>
              <a:ext cx="10858500" cy="610292"/>
            </a:xfrm>
            <a:prstGeom prst="rect">
              <a:avLst/>
            </a:prstGeom>
          </p:spPr>
          <p:txBody>
            <a:bodyPr wrap="square" anchor="b" anchorCtr="0">
              <a:normAutofit lnSpcReduction="20000"/>
            </a:bodyPr>
            <a:p>
              <a:pPr algn="ctr">
                <a:lnSpc>
                  <a:spcPct val="120000"/>
                </a:lnSpc>
                <a:defRPr/>
              </a:pPr>
              <a:r>
                <a:rPr lang="zh-CN" sz="2400" b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楷体" panose="02010609060101010101" pitchFamily="49" charset="-122"/>
                  <a:ea typeface="楷体" panose="02010609060101010101" pitchFamily="49" charset="-122"/>
                  <a:cs typeface="+mn-ea"/>
                  <a:sym typeface="+mn-lt"/>
                </a:rPr>
                <a:t>小样本解决</a:t>
              </a:r>
              <a:r>
                <a:rPr lang="en-US" altLang="zh-CN" sz="2400" b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楷体" panose="02010609060101010101" pitchFamily="49" charset="-122"/>
                  <a:ea typeface="楷体" panose="02010609060101010101" pitchFamily="49" charset="-122"/>
                  <a:cs typeface="+mn-ea"/>
                  <a:sym typeface="+mn-lt"/>
                </a:rPr>
                <a:t>“</a:t>
              </a:r>
              <a:r>
                <a:rPr lang="zh-CN" sz="2400" b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楷体" panose="02010609060101010101" pitchFamily="49" charset="-122"/>
                  <a:ea typeface="楷体" panose="02010609060101010101" pitchFamily="49" charset="-122"/>
                  <a:cs typeface="+mn-ea"/>
                  <a:sym typeface="+mn-lt"/>
                </a:rPr>
                <a:t>四招</a:t>
              </a:r>
              <a:r>
                <a:rPr lang="en-US" altLang="zh-CN" sz="2400" b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楷体" panose="02010609060101010101" pitchFamily="49" charset="-122"/>
                  <a:ea typeface="楷体" panose="02010609060101010101" pitchFamily="49" charset="-122"/>
                  <a:cs typeface="+mn-ea"/>
                  <a:sym typeface="+mn-lt"/>
                </a:rPr>
                <a:t>”</a:t>
              </a:r>
              <a:endParaRPr lang="en-US" altLang="zh-CN" sz="2400" b="1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一：级联思想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模型链式优化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673100" y="1117600"/>
            <a:ext cx="10845800" cy="454025"/>
          </a:xfrm>
          <a:prstGeom prst="rect">
            <a:avLst/>
          </a:prstGeom>
          <a:noFill/>
        </p:spPr>
        <p:txBody>
          <a:bodyPr vert="horz" wrap="square" rtlCol="0" anchor="ctr" anchorCtr="0">
            <a:normAutofit/>
          </a:bodyPr>
          <a:lstStyle/>
          <a:p>
            <a:pPr algn="ctr"/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级联思想：通过多个模型连接，不断缩小人群，</a:t>
            </a:r>
            <a:r>
              <a:rPr lang="en-US" altLang="zh-CN" b="1" dirty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提升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base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比例，由</a:t>
            </a:r>
            <a:r>
              <a:rPr lang="en-US" altLang="zh-CN" b="1" dirty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0.01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%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提升到</a:t>
            </a:r>
            <a:r>
              <a:rPr lang="en-US" altLang="zh-CN" b="1" dirty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1.2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%</a:t>
            </a:r>
            <a:endParaRPr lang="en-US" altLang="zh-CN" dirty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grpSp>
        <p:nvGrpSpPr>
          <p:cNvPr id="14" name="组合 13"/>
          <p:cNvGrpSpPr/>
          <p:nvPr/>
        </p:nvGrpSpPr>
        <p:grpSpPr>
          <a:xfrm rot="0">
            <a:off x="2578735" y="2159635"/>
            <a:ext cx="4469130" cy="3746500"/>
            <a:chOff x="3855244" y="2159828"/>
            <a:chExt cx="4468813" cy="3746686"/>
          </a:xfrm>
        </p:grpSpPr>
        <p:sp>
          <p:nvSpPr>
            <p:cNvPr id="11" name="任意多边形: 形状 2"/>
            <p:cNvSpPr/>
            <p:nvPr/>
          </p:nvSpPr>
          <p:spPr bwMode="auto">
            <a:xfrm>
              <a:off x="5723731" y="5292131"/>
              <a:ext cx="731838" cy="614383"/>
            </a:xfrm>
            <a:custGeom>
              <a:avLst/>
              <a:gdLst>
                <a:gd name="T0" fmla="*/ 319 w 319"/>
                <a:gd name="T1" fmla="*/ 0 h 324"/>
                <a:gd name="T2" fmla="*/ 0 w 319"/>
                <a:gd name="T3" fmla="*/ 0 h 324"/>
                <a:gd name="T4" fmla="*/ 95 w 319"/>
                <a:gd name="T5" fmla="*/ 181 h 324"/>
                <a:gd name="T6" fmla="*/ 95 w 319"/>
                <a:gd name="T7" fmla="*/ 301 h 324"/>
                <a:gd name="T8" fmla="*/ 124 w 319"/>
                <a:gd name="T9" fmla="*/ 324 h 324"/>
                <a:gd name="T10" fmla="*/ 196 w 319"/>
                <a:gd name="T11" fmla="*/ 324 h 324"/>
                <a:gd name="T12" fmla="*/ 224 w 319"/>
                <a:gd name="T13" fmla="*/ 301 h 324"/>
                <a:gd name="T14" fmla="*/ 224 w 319"/>
                <a:gd name="T15" fmla="*/ 181 h 324"/>
                <a:gd name="T16" fmla="*/ 319 w 319"/>
                <a:gd name="T17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9" h="324">
                  <a:moveTo>
                    <a:pt x="319" y="0"/>
                  </a:moveTo>
                  <a:cubicBezTo>
                    <a:pt x="213" y="3"/>
                    <a:pt x="106" y="3"/>
                    <a:pt x="0" y="0"/>
                  </a:cubicBezTo>
                  <a:cubicBezTo>
                    <a:pt x="95" y="181"/>
                    <a:pt x="95" y="181"/>
                    <a:pt x="95" y="181"/>
                  </a:cubicBezTo>
                  <a:cubicBezTo>
                    <a:pt x="95" y="301"/>
                    <a:pt x="95" y="301"/>
                    <a:pt x="95" y="301"/>
                  </a:cubicBezTo>
                  <a:cubicBezTo>
                    <a:pt x="95" y="314"/>
                    <a:pt x="108" y="324"/>
                    <a:pt x="124" y="324"/>
                  </a:cubicBezTo>
                  <a:cubicBezTo>
                    <a:pt x="196" y="324"/>
                    <a:pt x="196" y="324"/>
                    <a:pt x="196" y="324"/>
                  </a:cubicBezTo>
                  <a:cubicBezTo>
                    <a:pt x="211" y="324"/>
                    <a:pt x="224" y="314"/>
                    <a:pt x="224" y="301"/>
                  </a:cubicBezTo>
                  <a:cubicBezTo>
                    <a:pt x="224" y="181"/>
                    <a:pt x="224" y="181"/>
                    <a:pt x="224" y="181"/>
                  </a:cubicBezTo>
                  <a:lnTo>
                    <a:pt x="319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none" lIns="91440" tIns="45720" rIns="91440" bIns="45720" numCol="1" anchor="t" anchorCtr="0" compatLnSpc="1">
              <a:normAutofit/>
            </a:bodyPr>
            <a:lstStyle/>
            <a:p>
              <a:endParaRPr lang="id-ID"/>
            </a:p>
          </p:txBody>
        </p:sp>
        <p:sp>
          <p:nvSpPr>
            <p:cNvPr id="12" name="椭圆 11"/>
            <p:cNvSpPr/>
            <p:nvPr/>
          </p:nvSpPr>
          <p:spPr bwMode="auto">
            <a:xfrm>
              <a:off x="5725319" y="5251434"/>
              <a:ext cx="727075" cy="8270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16" name="任意多边形: 形状 4"/>
            <p:cNvSpPr/>
            <p:nvPr/>
          </p:nvSpPr>
          <p:spPr bwMode="auto">
            <a:xfrm>
              <a:off x="5190331" y="4454574"/>
              <a:ext cx="1797050" cy="731222"/>
            </a:xfrm>
            <a:custGeom>
              <a:avLst/>
              <a:gdLst>
                <a:gd name="T0" fmla="*/ 0 w 783"/>
                <a:gd name="T1" fmla="*/ 0 h 386"/>
                <a:gd name="T2" fmla="*/ 201 w 783"/>
                <a:gd name="T3" fmla="*/ 383 h 386"/>
                <a:gd name="T4" fmla="*/ 582 w 783"/>
                <a:gd name="T5" fmla="*/ 383 h 386"/>
                <a:gd name="T6" fmla="*/ 783 w 783"/>
                <a:gd name="T7" fmla="*/ 0 h 386"/>
                <a:gd name="T8" fmla="*/ 0 w 783"/>
                <a:gd name="T9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3" h="386">
                  <a:moveTo>
                    <a:pt x="0" y="0"/>
                  </a:moveTo>
                  <a:cubicBezTo>
                    <a:pt x="201" y="383"/>
                    <a:pt x="201" y="383"/>
                    <a:pt x="201" y="383"/>
                  </a:cubicBezTo>
                  <a:cubicBezTo>
                    <a:pt x="328" y="386"/>
                    <a:pt x="455" y="386"/>
                    <a:pt x="582" y="383"/>
                  </a:cubicBezTo>
                  <a:cubicBezTo>
                    <a:pt x="783" y="0"/>
                    <a:pt x="783" y="0"/>
                    <a:pt x="783" y="0"/>
                  </a:cubicBezTo>
                  <a:cubicBezTo>
                    <a:pt x="522" y="14"/>
                    <a:pt x="261" y="14"/>
                    <a:pt x="0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none" lIns="91440" tIns="45720" rIns="91440" bIns="45720" numCol="1" anchor="ctr" anchorCtr="0" compatLnSpc="1">
              <a:normAutofit/>
            </a:bodyPr>
            <a:lstStyle/>
            <a:p>
              <a:pPr algn="ctr"/>
              <a:endParaRPr lang="id-ID" b="1" dirty="0"/>
            </a:p>
          </p:txBody>
        </p:sp>
        <p:sp>
          <p:nvSpPr>
            <p:cNvPr id="18" name="椭圆 17"/>
            <p:cNvSpPr/>
            <p:nvPr/>
          </p:nvSpPr>
          <p:spPr bwMode="auto">
            <a:xfrm>
              <a:off x="5187156" y="4360054"/>
              <a:ext cx="1806575" cy="173288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19" name="任意多边形: 形状 6"/>
            <p:cNvSpPr/>
            <p:nvPr/>
          </p:nvSpPr>
          <p:spPr bwMode="auto">
            <a:xfrm>
              <a:off x="4601369" y="3522498"/>
              <a:ext cx="2974975" cy="848059"/>
            </a:xfrm>
            <a:custGeom>
              <a:avLst/>
              <a:gdLst>
                <a:gd name="T0" fmla="*/ 1072 w 1297"/>
                <a:gd name="T1" fmla="*/ 430 h 447"/>
                <a:gd name="T2" fmla="*/ 1297 w 1297"/>
                <a:gd name="T3" fmla="*/ 0 h 447"/>
                <a:gd name="T4" fmla="*/ 0 w 1297"/>
                <a:gd name="T5" fmla="*/ 0 h 447"/>
                <a:gd name="T6" fmla="*/ 226 w 1297"/>
                <a:gd name="T7" fmla="*/ 430 h 447"/>
                <a:gd name="T8" fmla="*/ 1072 w 1297"/>
                <a:gd name="T9" fmla="*/ 430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7" h="447">
                  <a:moveTo>
                    <a:pt x="1072" y="430"/>
                  </a:moveTo>
                  <a:cubicBezTo>
                    <a:pt x="1297" y="0"/>
                    <a:pt x="1297" y="0"/>
                    <a:pt x="1297" y="0"/>
                  </a:cubicBezTo>
                  <a:cubicBezTo>
                    <a:pt x="865" y="43"/>
                    <a:pt x="432" y="43"/>
                    <a:pt x="0" y="0"/>
                  </a:cubicBezTo>
                  <a:cubicBezTo>
                    <a:pt x="226" y="430"/>
                    <a:pt x="226" y="430"/>
                    <a:pt x="226" y="430"/>
                  </a:cubicBezTo>
                  <a:cubicBezTo>
                    <a:pt x="507" y="447"/>
                    <a:pt x="790" y="447"/>
                    <a:pt x="1072" y="43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none" lIns="91440" tIns="45720" rIns="91440" bIns="45720" numCol="1" anchor="ctr" anchorCtr="0" compatLnSpc="1">
              <a:normAutofit/>
            </a:bodyPr>
            <a:lstStyle/>
            <a:p>
              <a:pPr algn="ctr"/>
              <a:endParaRPr lang="id-ID" sz="2000" b="1" dirty="0"/>
            </a:p>
          </p:txBody>
        </p:sp>
        <p:sp>
          <p:nvSpPr>
            <p:cNvPr id="20" name="椭圆 19"/>
            <p:cNvSpPr/>
            <p:nvPr/>
          </p:nvSpPr>
          <p:spPr bwMode="auto">
            <a:xfrm>
              <a:off x="4604544" y="3382030"/>
              <a:ext cx="2971800" cy="2875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1" name="任意多边形: 形状 8"/>
            <p:cNvSpPr/>
            <p:nvPr/>
          </p:nvSpPr>
          <p:spPr bwMode="auto">
            <a:xfrm>
              <a:off x="3858419" y="2350181"/>
              <a:ext cx="4462463" cy="1144748"/>
            </a:xfrm>
            <a:custGeom>
              <a:avLst/>
              <a:gdLst>
                <a:gd name="T0" fmla="*/ 1654 w 1945"/>
                <a:gd name="T1" fmla="*/ 555 h 603"/>
                <a:gd name="T2" fmla="*/ 1945 w 1945"/>
                <a:gd name="T3" fmla="*/ 0 h 603"/>
                <a:gd name="T4" fmla="*/ 0 w 1945"/>
                <a:gd name="T5" fmla="*/ 0 h 603"/>
                <a:gd name="T6" fmla="*/ 291 w 1945"/>
                <a:gd name="T7" fmla="*/ 555 h 603"/>
                <a:gd name="T8" fmla="*/ 1654 w 1945"/>
                <a:gd name="T9" fmla="*/ 555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5" h="603">
                  <a:moveTo>
                    <a:pt x="1654" y="555"/>
                  </a:moveTo>
                  <a:cubicBezTo>
                    <a:pt x="1945" y="0"/>
                    <a:pt x="1945" y="0"/>
                    <a:pt x="19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1" y="555"/>
                    <a:pt x="291" y="555"/>
                    <a:pt x="291" y="555"/>
                  </a:cubicBezTo>
                  <a:cubicBezTo>
                    <a:pt x="745" y="603"/>
                    <a:pt x="1200" y="603"/>
                    <a:pt x="1654" y="5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none" lIns="91440" tIns="45720" rIns="91440" bIns="45720" numCol="1" anchor="ctr" anchorCtr="0" compatLnSpc="1">
              <a:normAutofit/>
            </a:bodyPr>
            <a:lstStyle/>
            <a:p>
              <a:pPr algn="ctr"/>
              <a:endParaRPr lang="id-ID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椭圆 21"/>
            <p:cNvSpPr/>
            <p:nvPr/>
          </p:nvSpPr>
          <p:spPr bwMode="auto">
            <a:xfrm>
              <a:off x="3855244" y="2159828"/>
              <a:ext cx="4468813" cy="364954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</p:grpSp>
      <p:sp>
        <p:nvSpPr>
          <p:cNvPr id="29" name="矩形 28"/>
          <p:cNvSpPr/>
          <p:nvPr/>
        </p:nvSpPr>
        <p:spPr bwMode="auto">
          <a:xfrm>
            <a:off x="7044690" y="2858135"/>
            <a:ext cx="2557780" cy="530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</a:rPr>
              <a:t>正样本比例</a:t>
            </a:r>
            <a:r>
              <a:rPr lang="en-US" altLang="it-IT" sz="1200">
                <a:latin typeface="华文楷体" panose="02010600040101010101" pitchFamily="2" charset="-122"/>
                <a:ea typeface="华文楷体" panose="02010600040101010101" pitchFamily="2" charset="-122"/>
              </a:rPr>
              <a:t>0.01%</a:t>
            </a:r>
            <a:endParaRPr lang="en-US" altLang="it-IT" sz="120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取</a:t>
            </a:r>
            <a:r>
              <a:rPr lang="en-US" altLang="zh-CN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topx1</a:t>
            </a:r>
            <a:r>
              <a:rPr lang="zh-CN" altLang="en-US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输入下一个模型</a:t>
            </a:r>
            <a:endParaRPr lang="zh-CN" altLang="en-US" sz="12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altLang="it-IT" sz="12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7044690" y="2329815"/>
            <a:ext cx="3197860" cy="462915"/>
          </a:xfrm>
          <a:prstGeom prst="rect">
            <a:avLst/>
          </a:prstGeom>
          <a:noFill/>
        </p:spPr>
        <p:txBody>
          <a:bodyPr wrap="square" rtlCol="0" anchor="b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模型</a:t>
            </a:r>
            <a:r>
              <a:rPr lang="en-US" altLang="zh-CN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1</a:t>
            </a:r>
            <a:endParaRPr lang="en-US" altLang="zh-CN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cxnSp>
        <p:nvCxnSpPr>
          <p:cNvPr id="38" name="直接箭头连接符 37"/>
          <p:cNvCxnSpPr/>
          <p:nvPr/>
        </p:nvCxnSpPr>
        <p:spPr>
          <a:xfrm>
            <a:off x="6706235" y="3014345"/>
            <a:ext cx="338455" cy="0"/>
          </a:xfrm>
          <a:prstGeom prst="straightConnector1">
            <a:avLst/>
          </a:prstGeom>
          <a:ln w="15875">
            <a:solidFill>
              <a:schemeClr val="tx2">
                <a:alpha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文本框 52"/>
          <p:cNvSpPr txBox="1"/>
          <p:nvPr/>
        </p:nvSpPr>
        <p:spPr>
          <a:xfrm>
            <a:off x="7044690" y="3454400"/>
            <a:ext cx="3197860" cy="462915"/>
          </a:xfrm>
          <a:prstGeom prst="rect">
            <a:avLst/>
          </a:prstGeom>
          <a:noFill/>
        </p:spPr>
        <p:txBody>
          <a:bodyPr wrap="square" rtlCol="0" anchor="b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模型</a:t>
            </a:r>
            <a:r>
              <a:rPr lang="en-US" altLang="zh-CN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2</a:t>
            </a:r>
            <a:endParaRPr lang="en-US" altLang="zh-CN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cxnSp>
        <p:nvCxnSpPr>
          <p:cNvPr id="54" name="直接箭头连接符 53"/>
          <p:cNvCxnSpPr/>
          <p:nvPr/>
        </p:nvCxnSpPr>
        <p:spPr>
          <a:xfrm>
            <a:off x="6706235" y="4138930"/>
            <a:ext cx="338455" cy="0"/>
          </a:xfrm>
          <a:prstGeom prst="straightConnector1">
            <a:avLst/>
          </a:prstGeom>
          <a:ln w="15875">
            <a:solidFill>
              <a:schemeClr val="tx2">
                <a:alpha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/>
        </p:nvSpPr>
        <p:spPr bwMode="auto">
          <a:xfrm>
            <a:off x="7047865" y="5709285"/>
            <a:ext cx="319786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it-IT" sz="1200">
                <a:latin typeface="华文楷体" panose="02010600040101010101" pitchFamily="2" charset="-122"/>
                <a:ea typeface="华文楷体" panose="02010600040101010101" pitchFamily="2" charset="-122"/>
              </a:rPr>
              <a:t>1.2%</a:t>
            </a:r>
            <a:endParaRPr lang="en-US" altLang="it-IT" sz="12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56" name="文本框 55"/>
          <p:cNvSpPr txBox="1"/>
          <p:nvPr/>
        </p:nvSpPr>
        <p:spPr>
          <a:xfrm>
            <a:off x="7047865" y="5180965"/>
            <a:ext cx="3197860" cy="462915"/>
          </a:xfrm>
          <a:prstGeom prst="rect">
            <a:avLst/>
          </a:prstGeom>
          <a:noFill/>
        </p:spPr>
        <p:txBody>
          <a:bodyPr wrap="square" rtlCol="0" anchor="b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模型</a:t>
            </a:r>
            <a:r>
              <a:rPr lang="en-US" altLang="zh-CN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N</a:t>
            </a:r>
            <a:endParaRPr lang="en-US" altLang="zh-CN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cxnSp>
        <p:nvCxnSpPr>
          <p:cNvPr id="57" name="直接箭头连接符 56"/>
          <p:cNvCxnSpPr/>
          <p:nvPr/>
        </p:nvCxnSpPr>
        <p:spPr>
          <a:xfrm>
            <a:off x="6709410" y="5865495"/>
            <a:ext cx="338455" cy="0"/>
          </a:xfrm>
          <a:prstGeom prst="straightConnector1">
            <a:avLst/>
          </a:prstGeom>
          <a:ln w="15875">
            <a:solidFill>
              <a:schemeClr val="tx2">
                <a:alpha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箭头连接符 58"/>
          <p:cNvCxnSpPr/>
          <p:nvPr/>
        </p:nvCxnSpPr>
        <p:spPr>
          <a:xfrm>
            <a:off x="8590280" y="2623185"/>
            <a:ext cx="0" cy="324929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文本框 59"/>
          <p:cNvSpPr txBox="1"/>
          <p:nvPr/>
        </p:nvSpPr>
        <p:spPr>
          <a:xfrm>
            <a:off x="7219315" y="4537710"/>
            <a:ext cx="1012825" cy="462915"/>
          </a:xfrm>
          <a:prstGeom prst="rect">
            <a:avLst/>
          </a:prstGeom>
          <a:noFill/>
        </p:spPr>
        <p:txBody>
          <a:bodyPr wrap="square" rtlCol="0" anchor="b" anchorCtr="0">
            <a:normAutofit/>
          </a:bodyPr>
          <a:p>
            <a:r>
              <a:rPr 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...</a:t>
            </a:r>
            <a:endParaRPr lang="en-US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6" name="矩形 5"/>
          <p:cNvSpPr/>
          <p:nvPr/>
        </p:nvSpPr>
        <p:spPr bwMode="auto">
          <a:xfrm>
            <a:off x="7047865" y="3923665"/>
            <a:ext cx="2557780" cy="530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</a:rPr>
              <a:t>正样本比例</a:t>
            </a:r>
            <a:r>
              <a:rPr lang="en-US" altLang="it-IT" sz="1200">
                <a:latin typeface="华文楷体" panose="02010600040101010101" pitchFamily="2" charset="-122"/>
                <a:ea typeface="华文楷体" panose="02010600040101010101" pitchFamily="2" charset="-122"/>
              </a:rPr>
              <a:t>0.2%</a:t>
            </a:r>
            <a:endParaRPr lang="en-US" altLang="it-IT" sz="120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取</a:t>
            </a:r>
            <a:r>
              <a:rPr lang="en-US" altLang="zh-CN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topx2</a:t>
            </a:r>
            <a:r>
              <a:rPr lang="zh-CN" altLang="en-US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输入下一个模型</a:t>
            </a:r>
            <a:endParaRPr lang="zh-CN" altLang="en-US" sz="12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altLang="it-IT" sz="12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二：挖掘规则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强规则探索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dirty="0" smtClean="0"/>
              <a:t>什么叫强规则</a:t>
            </a:r>
            <a:endParaRPr lang="zh-CN" altLang="en-US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graphicFrame>
        <p:nvGraphicFramePr>
          <p:cNvPr id="9" name="表格 8"/>
          <p:cNvGraphicFramePr/>
          <p:nvPr>
            <p:custDataLst>
              <p:tags r:id="rId1"/>
            </p:custDataLst>
          </p:nvPr>
        </p:nvGraphicFramePr>
        <p:xfrm>
          <a:off x="2330450" y="2232660"/>
          <a:ext cx="7148195" cy="1846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5380"/>
                <a:gridCol w="977265"/>
                <a:gridCol w="1009650"/>
                <a:gridCol w="1010920"/>
                <a:gridCol w="1023620"/>
                <a:gridCol w="926465"/>
                <a:gridCol w="1064895"/>
              </a:tblGrid>
              <a:tr h="60833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描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值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客户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投诉率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投诉率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覆盖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提升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41338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特征</a:t>
                      </a:r>
                      <a:r>
                        <a:rPr lang="en-US" altLang="zh-CN" sz="12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x</a:t>
                      </a:r>
                      <a:endParaRPr lang="en-US" altLang="zh-CN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0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9,614,617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1,088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48.8%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0.99 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41211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特征</a:t>
                      </a:r>
                      <a:r>
                        <a:rPr lang="en-US" altLang="zh-CN" sz="12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x</a:t>
                      </a:r>
                      <a:endParaRPr lang="en-US" altLang="zh-CN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1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1,080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05A23"/>
                          </a:solidFill>
                          <a:latin typeface="华文楷体" panose="02010600040101010101" pitchFamily="2" charset="-122"/>
                        </a:rPr>
                        <a:t>560 </a:t>
                      </a:r>
                      <a:endParaRPr lang="en-US" altLang="en-US" sz="1200" b="1">
                        <a:solidFill>
                          <a:srgbClr val="F05A23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51.85%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05A23"/>
                          </a:solidFill>
                          <a:latin typeface="华文楷体" panose="02010600040101010101" pitchFamily="2" charset="-122"/>
                        </a:rPr>
                        <a:t>51.2%</a:t>
                      </a:r>
                      <a:endParaRPr lang="en-US" altLang="en-US" sz="1200" b="1">
                        <a:solidFill>
                          <a:srgbClr val="F05A23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05A23"/>
                          </a:solidFill>
                          <a:latin typeface="华文楷体" panose="02010600040101010101" pitchFamily="2" charset="-122"/>
                        </a:rPr>
                        <a:t>5,120</a:t>
                      </a:r>
                      <a:endParaRPr lang="en-US" altLang="en-US" sz="1200" b="1">
                        <a:solidFill>
                          <a:srgbClr val="F05A23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41275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全量</a:t>
                      </a:r>
                      <a:endParaRPr lang="zh-CN" alt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9,615,697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1,094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</a:tbl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938530" y="1489710"/>
            <a:ext cx="9153525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None/>
            </a:pPr>
            <a:r>
              <a:rPr lang="zh-CN" altLang="en-US" sz="1555" dirty="0" smtClean="0"/>
              <a:t>特征</a:t>
            </a:r>
            <a:r>
              <a:rPr lang="en-US" altLang="zh-CN" sz="1555" dirty="0" smtClean="0"/>
              <a:t>x</a:t>
            </a:r>
            <a:r>
              <a:rPr lang="zh-CN" altLang="en-US" sz="1555" dirty="0" smtClean="0"/>
              <a:t>在取值为</a:t>
            </a:r>
            <a:r>
              <a:rPr lang="en-US" altLang="zh-CN" sz="1555" dirty="0" smtClean="0"/>
              <a:t>1</a:t>
            </a:r>
            <a:r>
              <a:rPr lang="zh-CN" altLang="en-US" sz="1555" dirty="0" smtClean="0"/>
              <a:t>时，投诉率由整体的</a:t>
            </a:r>
            <a:r>
              <a:rPr lang="en-US" altLang="zh-CN" sz="1555" dirty="0" smtClean="0"/>
              <a:t>0.01%</a:t>
            </a:r>
            <a:r>
              <a:rPr lang="zh-CN" altLang="en-US" sz="1555" dirty="0" smtClean="0"/>
              <a:t>提升到</a:t>
            </a:r>
            <a:r>
              <a:rPr lang="en-US" altLang="zh-CN" sz="1555" dirty="0" smtClean="0"/>
              <a:t>51.85%</a:t>
            </a:r>
            <a:r>
              <a:rPr lang="zh-CN" altLang="en-US" sz="1555" dirty="0" smtClean="0"/>
              <a:t>，提升</a:t>
            </a:r>
            <a:r>
              <a:rPr lang="en-US" altLang="zh-CN" sz="1555" b="1" dirty="0" smtClean="0">
                <a:solidFill>
                  <a:srgbClr val="F05A23"/>
                </a:solidFill>
              </a:rPr>
              <a:t>5,120</a:t>
            </a:r>
            <a:r>
              <a:rPr lang="zh-CN" altLang="en-US" sz="1555" dirty="0" smtClean="0"/>
              <a:t>倍</a:t>
            </a:r>
            <a:endParaRPr lang="zh-CN" altLang="en-US" sz="1555" dirty="0" smtClean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二：挖掘规则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强规则探索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好规则满足的三个条件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6" name="椭圆 5"/>
          <p:cNvSpPr/>
          <p:nvPr/>
        </p:nvSpPr>
        <p:spPr>
          <a:xfrm>
            <a:off x="1833880" y="2393950"/>
            <a:ext cx="1753870" cy="1753870"/>
          </a:xfrm>
          <a:prstGeom prst="ellipse">
            <a:avLst/>
          </a:prstGeom>
          <a:noFill/>
          <a:ln w="0">
            <a:solidFill>
              <a:srgbClr val="F05A23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05A23"/>
                </a:solidFill>
              </a14:hiddenFill>
            </a:ext>
          </a:extLst>
        </p:spPr>
        <p:txBody>
          <a:bodyPr vert="horz" wrap="square" lIns="91440" tIns="45720" rIns="91440" bIns="45720" numCol="1" rtlCol="0" anchor="ctr" anchorCtr="0" compatLnSpc="1"/>
          <a:p>
            <a:pPr algn="ctr"/>
            <a:r>
              <a:rPr lang="zh-CN" altLang="en-US">
                <a:solidFill>
                  <a:schemeClr val="tx1"/>
                </a:solidFill>
              </a:rPr>
              <a:t>效果好（有对比）</a:t>
            </a:r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7" name="椭圆 6"/>
          <p:cNvSpPr/>
          <p:nvPr/>
        </p:nvSpPr>
        <p:spPr>
          <a:xfrm>
            <a:off x="5179060" y="2393950"/>
            <a:ext cx="1753870" cy="1753870"/>
          </a:xfrm>
          <a:prstGeom prst="ellipse">
            <a:avLst/>
          </a:prstGeom>
          <a:noFill/>
          <a:ln w="0">
            <a:solidFill>
              <a:srgbClr val="F05A23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05A23"/>
                </a:solidFill>
              </a14:hiddenFill>
            </a:ext>
          </a:extLst>
        </p:spPr>
        <p:txBody>
          <a:bodyPr vert="horz" wrap="square" lIns="91440" tIns="45720" rIns="91440" bIns="45720" numCol="1" rtlCol="0" anchor="ctr" anchorCtr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>
                <a:sym typeface="+mn-ea"/>
              </a:rPr>
              <a:t>泛化能力好（稳定）</a:t>
            </a:r>
            <a:endParaRPr lang="zh-CN" altLang="en-US">
              <a:sym typeface="+mn-ea"/>
            </a:endParaRPr>
          </a:p>
        </p:txBody>
      </p:sp>
      <p:sp>
        <p:nvSpPr>
          <p:cNvPr id="8" name="椭圆 7"/>
          <p:cNvSpPr/>
          <p:nvPr/>
        </p:nvSpPr>
        <p:spPr>
          <a:xfrm>
            <a:off x="8524240" y="2393950"/>
            <a:ext cx="1753870" cy="1753870"/>
          </a:xfrm>
          <a:prstGeom prst="ellipse">
            <a:avLst/>
          </a:prstGeom>
          <a:noFill/>
          <a:ln w="0">
            <a:solidFill>
              <a:srgbClr val="F05A23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05A23"/>
                </a:solidFill>
              </a14:hiddenFill>
            </a:ext>
          </a:extLst>
        </p:spPr>
        <p:txBody>
          <a:bodyPr vert="horz" wrap="square" lIns="91440" tIns="45720" rIns="91440" bIns="45720" numCol="1" rtlCol="0" anchor="ctr" anchorCtr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>
                <a:sym typeface="+mn-ea"/>
              </a:rPr>
              <a:t>覆盖量尽可能大</a:t>
            </a:r>
            <a:endParaRPr lang="zh-CN" altLang="en-US">
              <a:sym typeface="+mn-ea"/>
            </a:endParaRPr>
          </a:p>
        </p:txBody>
      </p:sp>
      <p:sp>
        <p:nvSpPr>
          <p:cNvPr id="90" name="Freeform 250"/>
          <p:cNvSpPr/>
          <p:nvPr/>
        </p:nvSpPr>
        <p:spPr bwMode="auto">
          <a:xfrm>
            <a:off x="3983355" y="2889885"/>
            <a:ext cx="751205" cy="762635"/>
          </a:xfrm>
          <a:custGeom>
            <a:avLst/>
            <a:gdLst>
              <a:gd name="T0" fmla="*/ 118 w 179"/>
              <a:gd name="T1" fmla="*/ 0 h 182"/>
              <a:gd name="T2" fmla="*/ 64 w 179"/>
              <a:gd name="T3" fmla="*/ 0 h 182"/>
              <a:gd name="T4" fmla="*/ 64 w 179"/>
              <a:gd name="T5" fmla="*/ 64 h 182"/>
              <a:gd name="T6" fmla="*/ 0 w 179"/>
              <a:gd name="T7" fmla="*/ 64 h 182"/>
              <a:gd name="T8" fmla="*/ 0 w 179"/>
              <a:gd name="T9" fmla="*/ 118 h 182"/>
              <a:gd name="T10" fmla="*/ 64 w 179"/>
              <a:gd name="T11" fmla="*/ 118 h 182"/>
              <a:gd name="T12" fmla="*/ 64 w 179"/>
              <a:gd name="T13" fmla="*/ 182 h 182"/>
              <a:gd name="T14" fmla="*/ 118 w 179"/>
              <a:gd name="T15" fmla="*/ 182 h 182"/>
              <a:gd name="T16" fmla="*/ 118 w 179"/>
              <a:gd name="T17" fmla="*/ 118 h 182"/>
              <a:gd name="T18" fmla="*/ 179 w 179"/>
              <a:gd name="T19" fmla="*/ 118 h 182"/>
              <a:gd name="T20" fmla="*/ 179 w 179"/>
              <a:gd name="T21" fmla="*/ 64 h 182"/>
              <a:gd name="T22" fmla="*/ 118 w 179"/>
              <a:gd name="T23" fmla="*/ 64 h 182"/>
              <a:gd name="T24" fmla="*/ 118 w 179"/>
              <a:gd name="T25" fmla="*/ 0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9" h="182">
                <a:moveTo>
                  <a:pt x="118" y="0"/>
                </a:moveTo>
                <a:lnTo>
                  <a:pt x="64" y="0"/>
                </a:lnTo>
                <a:lnTo>
                  <a:pt x="64" y="64"/>
                </a:lnTo>
                <a:lnTo>
                  <a:pt x="0" y="64"/>
                </a:lnTo>
                <a:lnTo>
                  <a:pt x="0" y="118"/>
                </a:lnTo>
                <a:lnTo>
                  <a:pt x="64" y="118"/>
                </a:lnTo>
                <a:lnTo>
                  <a:pt x="64" y="182"/>
                </a:lnTo>
                <a:lnTo>
                  <a:pt x="118" y="182"/>
                </a:lnTo>
                <a:lnTo>
                  <a:pt x="118" y="118"/>
                </a:lnTo>
                <a:lnTo>
                  <a:pt x="179" y="118"/>
                </a:lnTo>
                <a:lnTo>
                  <a:pt x="179" y="64"/>
                </a:lnTo>
                <a:lnTo>
                  <a:pt x="118" y="64"/>
                </a:lnTo>
                <a:lnTo>
                  <a:pt x="118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zh-CN" altLang="en-US"/>
          </a:p>
        </p:txBody>
      </p:sp>
      <p:sp>
        <p:nvSpPr>
          <p:cNvPr id="9" name="Freeform 250"/>
          <p:cNvSpPr/>
          <p:nvPr/>
        </p:nvSpPr>
        <p:spPr bwMode="auto">
          <a:xfrm>
            <a:off x="7414895" y="2889885"/>
            <a:ext cx="751205" cy="762635"/>
          </a:xfrm>
          <a:custGeom>
            <a:avLst/>
            <a:gdLst>
              <a:gd name="T0" fmla="*/ 118 w 179"/>
              <a:gd name="T1" fmla="*/ 0 h 182"/>
              <a:gd name="T2" fmla="*/ 64 w 179"/>
              <a:gd name="T3" fmla="*/ 0 h 182"/>
              <a:gd name="T4" fmla="*/ 64 w 179"/>
              <a:gd name="T5" fmla="*/ 64 h 182"/>
              <a:gd name="T6" fmla="*/ 0 w 179"/>
              <a:gd name="T7" fmla="*/ 64 h 182"/>
              <a:gd name="T8" fmla="*/ 0 w 179"/>
              <a:gd name="T9" fmla="*/ 118 h 182"/>
              <a:gd name="T10" fmla="*/ 64 w 179"/>
              <a:gd name="T11" fmla="*/ 118 h 182"/>
              <a:gd name="T12" fmla="*/ 64 w 179"/>
              <a:gd name="T13" fmla="*/ 182 h 182"/>
              <a:gd name="T14" fmla="*/ 118 w 179"/>
              <a:gd name="T15" fmla="*/ 182 h 182"/>
              <a:gd name="T16" fmla="*/ 118 w 179"/>
              <a:gd name="T17" fmla="*/ 118 h 182"/>
              <a:gd name="T18" fmla="*/ 179 w 179"/>
              <a:gd name="T19" fmla="*/ 118 h 182"/>
              <a:gd name="T20" fmla="*/ 179 w 179"/>
              <a:gd name="T21" fmla="*/ 64 h 182"/>
              <a:gd name="T22" fmla="*/ 118 w 179"/>
              <a:gd name="T23" fmla="*/ 64 h 182"/>
              <a:gd name="T24" fmla="*/ 118 w 179"/>
              <a:gd name="T25" fmla="*/ 0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9" h="182">
                <a:moveTo>
                  <a:pt x="118" y="0"/>
                </a:moveTo>
                <a:lnTo>
                  <a:pt x="64" y="0"/>
                </a:lnTo>
                <a:lnTo>
                  <a:pt x="64" y="64"/>
                </a:lnTo>
                <a:lnTo>
                  <a:pt x="0" y="64"/>
                </a:lnTo>
                <a:lnTo>
                  <a:pt x="0" y="118"/>
                </a:lnTo>
                <a:lnTo>
                  <a:pt x="64" y="118"/>
                </a:lnTo>
                <a:lnTo>
                  <a:pt x="64" y="182"/>
                </a:lnTo>
                <a:lnTo>
                  <a:pt x="118" y="182"/>
                </a:lnTo>
                <a:lnTo>
                  <a:pt x="118" y="118"/>
                </a:lnTo>
                <a:lnTo>
                  <a:pt x="179" y="118"/>
                </a:lnTo>
                <a:lnTo>
                  <a:pt x="179" y="64"/>
                </a:lnTo>
                <a:lnTo>
                  <a:pt x="118" y="64"/>
                </a:lnTo>
                <a:lnTo>
                  <a:pt x="118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zh-CN" altLang="en-US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SpPr txBox="1"/>
          <p:nvPr>
            <p:custDataLst>
              <p:tags r:id="rId1"/>
            </p:custDataLst>
          </p:nvPr>
        </p:nvSpPr>
        <p:spPr>
          <a:xfrm>
            <a:off x="3824605" y="1777365"/>
            <a:ext cx="6821170" cy="46164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/>
              <a:t>小练习：</a:t>
            </a:r>
            <a:r>
              <a:rPr lang="zh-CN" altLang="en-US" sz="3200" dirty="0" smtClean="0">
                <a:sym typeface="+mn-ea"/>
              </a:rPr>
              <a:t>这些是好规则吗</a:t>
            </a:r>
            <a:endParaRPr lang="zh-CN" altLang="en-US" sz="3200" dirty="0"/>
          </a:p>
        </p:txBody>
      </p: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/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/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/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/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/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/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/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/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/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/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/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/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/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/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/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/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/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/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/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/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/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/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/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/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/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/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/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/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/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/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/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/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/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/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/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/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/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/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/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/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/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/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/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/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/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/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/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/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/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/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/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/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/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/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/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/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/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/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/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/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/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/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/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/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graphicFrame>
        <p:nvGraphicFramePr>
          <p:cNvPr id="8" name="表格 7"/>
          <p:cNvGraphicFramePr/>
          <p:nvPr/>
        </p:nvGraphicFramePr>
        <p:xfrm>
          <a:off x="2100263" y="2892425"/>
          <a:ext cx="7991475" cy="1130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7925"/>
                <a:gridCol w="685800"/>
                <a:gridCol w="914400"/>
                <a:gridCol w="904875"/>
                <a:gridCol w="962025"/>
                <a:gridCol w="885825"/>
                <a:gridCol w="1190625"/>
              </a:tblGrid>
              <a:tr h="4445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描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值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客户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30天直达监管客户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30天直达监管率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覆盖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提升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2286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614,61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8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9.82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00 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2286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6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2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.94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18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259.44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2286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全量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614,68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9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3" name="表格 72"/>
          <p:cNvGraphicFramePr/>
          <p:nvPr/>
        </p:nvGraphicFramePr>
        <p:xfrm>
          <a:off x="1689418" y="4578985"/>
          <a:ext cx="8677275" cy="172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5800"/>
                <a:gridCol w="2447925"/>
                <a:gridCol w="685800"/>
                <a:gridCol w="914400"/>
                <a:gridCol w="904875"/>
                <a:gridCol w="962025"/>
                <a:gridCol w="885825"/>
                <a:gridCol w="1190625"/>
              </a:tblGrid>
              <a:tr h="431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月份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描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值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客户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30天直达监管客户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30天直达监管率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覆盖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提升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6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614,61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8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9.45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99 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6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8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560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51.85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55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48.83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6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全量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615,69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9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5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684,61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8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9.09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00 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5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12,60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10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9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0.79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5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全量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797,21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9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SpPr txBox="1"/>
          <p:nvPr>
            <p:custDataLst>
              <p:tags r:id="rId1"/>
            </p:custDataLst>
          </p:nvPr>
        </p:nvSpPr>
        <p:spPr>
          <a:xfrm>
            <a:off x="3824605" y="1777365"/>
            <a:ext cx="6821170" cy="46164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/>
              <a:t>小练习：</a:t>
            </a:r>
            <a:r>
              <a:rPr lang="zh-CN" altLang="en-US" sz="3200" dirty="0" smtClean="0">
                <a:sym typeface="+mn-ea"/>
              </a:rPr>
              <a:t>这些是好规则吗</a:t>
            </a:r>
            <a:endParaRPr lang="zh-CN" altLang="en-US" sz="3200" dirty="0"/>
          </a:p>
        </p:txBody>
      </p: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/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/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/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/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/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/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/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/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/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/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/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/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/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/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/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/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/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/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/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/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/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/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/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/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/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/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/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/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/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/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/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/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/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/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/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/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/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/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/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/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/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/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/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/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/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/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/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/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/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/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/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/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/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/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/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/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/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/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/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/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/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/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/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/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graphicFrame>
        <p:nvGraphicFramePr>
          <p:cNvPr id="2" name="表格 1"/>
          <p:cNvGraphicFramePr/>
          <p:nvPr/>
        </p:nvGraphicFramePr>
        <p:xfrm>
          <a:off x="1197610" y="3239770"/>
          <a:ext cx="2301240" cy="2413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2320"/>
                <a:gridCol w="943610"/>
                <a:gridCol w="575310"/>
              </a:tblGrid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承保年份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投诉保单量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占比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2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73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5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2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4,10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.8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9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2,80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1.4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5,82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5.5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01,14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6.9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70,079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8.7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4,93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4,30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.8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3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9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1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3612515" y="3673475"/>
            <a:ext cx="1811020" cy="93853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 fontAlgn="auto">
              <a:lnSpc>
                <a:spcPts val="1800"/>
              </a:lnSpc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得到规则：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2018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、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2019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年承保保单容易投诉？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graphicFrame>
        <p:nvGraphicFramePr>
          <p:cNvPr id="7" name="表格 6"/>
          <p:cNvGraphicFramePr/>
          <p:nvPr/>
        </p:nvGraphicFramePr>
        <p:xfrm>
          <a:off x="5733415" y="3239770"/>
          <a:ext cx="5718810" cy="24168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4080"/>
                <a:gridCol w="914400"/>
                <a:gridCol w="960755"/>
                <a:gridCol w="1033145"/>
                <a:gridCol w="998855"/>
                <a:gridCol w="917575"/>
              </a:tblGrid>
              <a:tr h="24511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承保年份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全量保单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保单占比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投诉保单量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投诉保单占比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保单投诉率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2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519,96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.0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73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5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2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659,86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6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4,10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.8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9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9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,409,74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3.0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2,80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1.4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6,124,98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3.3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5,82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5.5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6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6,142,38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3.4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01,14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6.9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7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,769,52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8.1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70,079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8.7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5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,558,08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.7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4,93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4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82,21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.1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4,30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.8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3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6,36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1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9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1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4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75" name="直接箭头连接符 74"/>
          <p:cNvCxnSpPr/>
          <p:nvPr/>
        </p:nvCxnSpPr>
        <p:spPr>
          <a:xfrm>
            <a:off x="3813810" y="4589780"/>
            <a:ext cx="154305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文本框 75"/>
          <p:cNvSpPr txBox="1"/>
          <p:nvPr/>
        </p:nvSpPr>
        <p:spPr>
          <a:xfrm>
            <a:off x="4167505" y="4612005"/>
            <a:ext cx="701040" cy="42354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>
              <a:lnSpc>
                <a:spcPct val="120000"/>
              </a:lnSpc>
            </a:pPr>
            <a:r>
              <a:rPr lang="en-US" altLang="zh-CN" kern="600" spc="160" dirty="0" smtClean="0"/>
              <a:t>BUT</a:t>
            </a:r>
            <a:endParaRPr lang="en-US" altLang="zh-CN" kern="600" spc="160" dirty="0" smtClean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6" grpId="0"/>
      <p:bldP spid="76" grpId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二：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挖掘规则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强规则探索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好规则怎么做（四步法）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2" name="矩形 11"/>
          <p:cNvSpPr/>
          <p:nvPr/>
        </p:nvSpPr>
        <p:spPr>
          <a:xfrm>
            <a:off x="666750" y="4162425"/>
            <a:ext cx="2583815" cy="4102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algn="l">
              <a:lnSpc>
                <a:spcPct val="120000"/>
              </a:lnSpc>
            </a:pPr>
            <a:r>
              <a:rPr kumimoji="1" lang="zh-CN" altLang="fr-FR" sz="14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要素：</a:t>
            </a:r>
            <a:endParaRPr kumimoji="1" lang="zh-CN" altLang="fr-FR" sz="140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algn="l">
              <a:lnSpc>
                <a:spcPct val="120000"/>
              </a:lnSpc>
            </a:pPr>
            <a:endParaRPr kumimoji="1"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13" name="直接连接符 12"/>
          <p:cNvCxnSpPr/>
          <p:nvPr/>
        </p:nvCxnSpPr>
        <p:spPr>
          <a:xfrm>
            <a:off x="1633220" y="2871470"/>
            <a:ext cx="0" cy="1290955"/>
          </a:xfrm>
          <a:prstGeom prst="line">
            <a:avLst/>
          </a:prstGeom>
          <a:ln>
            <a:solidFill>
              <a:schemeClr val="accent1">
                <a:alpha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箭头: 右 3"/>
          <p:cNvSpPr/>
          <p:nvPr/>
        </p:nvSpPr>
        <p:spPr>
          <a:xfrm>
            <a:off x="666750" y="2117090"/>
            <a:ext cx="2583815" cy="1180465"/>
          </a:xfrm>
          <a:prstGeom prst="rightArrow">
            <a:avLst>
              <a:gd name="adj1" fmla="val 50000"/>
              <a:gd name="adj2" fmla="val 49038"/>
            </a:avLst>
          </a:prstGeom>
          <a:solidFill>
            <a:schemeClr val="accent1"/>
          </a:solidFill>
          <a:ln w="12700" cap="flat">
            <a:noFill/>
            <a:prstDash val="solid"/>
            <a:miter/>
          </a:ln>
          <a:effectLst>
            <a:outerShdw blurRad="127000" dist="63500" dir="2700000" algn="tl" rotWithShape="0">
              <a:schemeClr val="accent1">
                <a:alpha val="40000"/>
              </a:schemeClr>
            </a:outerShdw>
          </a:effectLst>
        </p:spPr>
        <p:txBody>
          <a:bodyPr wrap="square" lIns="91440" tIns="45720" rIns="91440" bIns="45720" rtlCol="0" anchor="ctr">
            <a:normAutofit/>
          </a:bodyPr>
          <a:p>
            <a:pPr algn="ctr"/>
            <a:r>
              <a:rPr lang="zh-CN" altLang="en-US" sz="1600" b="1" dirty="0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构建宽表</a:t>
            </a:r>
            <a:endParaRPr lang="zh-CN" altLang="en-US" sz="1600" b="1" dirty="0">
              <a:solidFill>
                <a:srgbClr val="FFFFFF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911225" y="1846580"/>
            <a:ext cx="1443355" cy="368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spAutoFit/>
          </a:bodyPr>
          <a:p>
            <a:pPr algn="ctr"/>
            <a:r>
              <a:rPr kumimoji="1" lang="en-US" altLang="zh-CN" b="1" dirty="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step1</a:t>
            </a:r>
            <a:endParaRPr kumimoji="1" lang="en-US" altLang="zh-CN" b="1" dirty="0">
              <a:solidFill>
                <a:schemeClr val="tx1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17" name="直接连接符 16"/>
          <p:cNvCxnSpPr/>
          <p:nvPr/>
        </p:nvCxnSpPr>
        <p:spPr>
          <a:xfrm>
            <a:off x="4391660" y="2871470"/>
            <a:ext cx="0" cy="1290955"/>
          </a:xfrm>
          <a:prstGeom prst="line">
            <a:avLst/>
          </a:prstGeom>
          <a:ln>
            <a:solidFill>
              <a:schemeClr val="accent2">
                <a:alpha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箭头: 右 10"/>
          <p:cNvSpPr/>
          <p:nvPr/>
        </p:nvSpPr>
        <p:spPr>
          <a:xfrm>
            <a:off x="3425190" y="2117090"/>
            <a:ext cx="2583815" cy="1180465"/>
          </a:xfrm>
          <a:prstGeom prst="rightArrow">
            <a:avLst>
              <a:gd name="adj1" fmla="val 50000"/>
              <a:gd name="adj2" fmla="val 49038"/>
            </a:avLst>
          </a:prstGeom>
          <a:solidFill>
            <a:schemeClr val="accent2"/>
          </a:solidFill>
          <a:ln w="12700" cap="flat">
            <a:noFill/>
            <a:prstDash val="solid"/>
            <a:miter/>
          </a:ln>
          <a:effectLst>
            <a:outerShdw blurRad="127000" dist="63500" dir="2700000" algn="tl" rotWithShape="0">
              <a:schemeClr val="accent2">
                <a:alpha val="40000"/>
              </a:schemeClr>
            </a:outerShdw>
          </a:effectLst>
        </p:spPr>
        <p:txBody>
          <a:bodyPr wrap="square" lIns="91440" tIns="45720" rIns="91440" bIns="45720" rtlCol="0" anchor="ctr">
            <a:normAutofit/>
          </a:bodyPr>
          <a:p>
            <a:pPr algn="ctr"/>
            <a:r>
              <a:rPr lang="zh-CN" altLang="en-US" sz="1600" b="1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单变量</a:t>
            </a:r>
            <a:r>
              <a:rPr lang="en-US" altLang="zh-CN" sz="1600" b="1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&amp;</a:t>
            </a:r>
            <a:r>
              <a:rPr lang="zh-CN" altLang="en-US" sz="1600" b="1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交叉变量分析</a:t>
            </a:r>
            <a:endParaRPr lang="zh-CN" altLang="en-US" sz="1600" b="1" dirty="0">
              <a:solidFill>
                <a:srgbClr val="FFFFFF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3669665" y="1846580"/>
            <a:ext cx="1443355" cy="368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spAutoFit/>
          </a:bodyPr>
          <a:p>
            <a:pPr algn="ctr"/>
            <a:r>
              <a:rPr kumimoji="1" lang="en-US" altLang="zh-CN" b="1" dirty="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step2</a:t>
            </a:r>
            <a:endParaRPr kumimoji="1" lang="en-US" altLang="zh-CN" b="1" dirty="0">
              <a:solidFill>
                <a:schemeClr val="tx1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7150100" y="2871470"/>
            <a:ext cx="0" cy="1290955"/>
          </a:xfrm>
          <a:prstGeom prst="line">
            <a:avLst/>
          </a:prstGeom>
          <a:ln>
            <a:solidFill>
              <a:schemeClr val="accent1">
                <a:alpha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箭头: 右 16"/>
          <p:cNvSpPr/>
          <p:nvPr/>
        </p:nvSpPr>
        <p:spPr>
          <a:xfrm>
            <a:off x="6183630" y="2117090"/>
            <a:ext cx="2583815" cy="1180465"/>
          </a:xfrm>
          <a:prstGeom prst="rightArrow">
            <a:avLst>
              <a:gd name="adj1" fmla="val 50000"/>
              <a:gd name="adj2" fmla="val 49038"/>
            </a:avLst>
          </a:prstGeom>
          <a:solidFill>
            <a:schemeClr val="accent1"/>
          </a:solidFill>
          <a:ln w="12700" cap="flat">
            <a:noFill/>
            <a:prstDash val="solid"/>
            <a:miter/>
          </a:ln>
          <a:effectLst>
            <a:outerShdw blurRad="127000" dist="63500" dir="2700000" algn="tl" rotWithShape="0">
              <a:schemeClr val="accent1">
                <a:alpha val="40000"/>
              </a:schemeClr>
            </a:outerShdw>
          </a:effectLst>
        </p:spPr>
        <p:txBody>
          <a:bodyPr wrap="square" lIns="91440" tIns="45720" rIns="91440" bIns="45720" rtlCol="0" anchor="ctr">
            <a:normAutofit/>
          </a:bodyPr>
          <a:p>
            <a:pPr algn="ctr"/>
            <a:r>
              <a:rPr lang="zh-CN" sz="1600" b="1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  <a:sym typeface="+mn-ea"/>
              </a:rPr>
              <a:t>通过</a:t>
            </a:r>
            <a:r>
              <a:rPr lang="en-US" altLang="zh-CN" sz="1600" b="1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  <a:sym typeface="+mn-ea"/>
              </a:rPr>
              <a:t>IV</a:t>
            </a:r>
            <a:r>
              <a:rPr lang="zh-CN" altLang="en-US" sz="1600" b="1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  <a:sym typeface="+mn-ea"/>
              </a:rPr>
              <a:t>、召回率批量筛选</a:t>
            </a:r>
            <a:endParaRPr lang="zh-CN" altLang="en-US" sz="1600" b="1" dirty="0" smtClean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  <a:sym typeface="+mn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6428105" y="1846580"/>
            <a:ext cx="1443355" cy="368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spAutoFit/>
          </a:bodyPr>
          <a:p>
            <a:pPr algn="ctr"/>
            <a:r>
              <a:rPr kumimoji="1" lang="en-US" altLang="zh-CN" b="1" dirty="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step3</a:t>
            </a:r>
            <a:endParaRPr kumimoji="1" lang="en-US" altLang="zh-CN" b="1" dirty="0">
              <a:solidFill>
                <a:schemeClr val="tx1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26" name="直接连接符 25"/>
          <p:cNvCxnSpPr/>
          <p:nvPr/>
        </p:nvCxnSpPr>
        <p:spPr>
          <a:xfrm>
            <a:off x="9907905" y="2871470"/>
            <a:ext cx="0" cy="1290955"/>
          </a:xfrm>
          <a:prstGeom prst="line">
            <a:avLst/>
          </a:prstGeom>
          <a:ln>
            <a:solidFill>
              <a:schemeClr val="accent2">
                <a:alpha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箭头: 右 22"/>
          <p:cNvSpPr/>
          <p:nvPr/>
        </p:nvSpPr>
        <p:spPr>
          <a:xfrm>
            <a:off x="8941435" y="2117090"/>
            <a:ext cx="2583815" cy="1180465"/>
          </a:xfrm>
          <a:prstGeom prst="rightArrow">
            <a:avLst>
              <a:gd name="adj1" fmla="val 50000"/>
              <a:gd name="adj2" fmla="val 49038"/>
            </a:avLst>
          </a:prstGeom>
          <a:solidFill>
            <a:schemeClr val="accent2"/>
          </a:solidFill>
          <a:ln w="12700" cap="flat">
            <a:noFill/>
            <a:prstDash val="solid"/>
            <a:miter/>
          </a:ln>
          <a:effectLst>
            <a:outerShdw blurRad="127000" dist="63500" dir="2700000" algn="tl" rotWithShape="0">
              <a:schemeClr val="accent2">
                <a:alpha val="40000"/>
              </a:schemeClr>
            </a:outerShdw>
          </a:effectLst>
        </p:spPr>
        <p:txBody>
          <a:bodyPr wrap="square" lIns="91440" tIns="45720" rIns="91440" bIns="45720" rtlCol="0" anchor="ctr">
            <a:normAutofit/>
          </a:bodyPr>
          <a:p>
            <a:pPr algn="ctr"/>
            <a:r>
              <a:rPr lang="zh-CN" sz="1600" b="1" dirty="0" smtClean="0">
                <a:solidFill>
                  <a:schemeClr val="bg1"/>
                </a:solidFill>
                <a:sym typeface="+mn-ea"/>
              </a:rPr>
              <a:t>跨时间验证稳定性</a:t>
            </a:r>
            <a:endParaRPr lang="zh-CN" altLang="zh-CN" sz="1600" b="1" dirty="0" smtClean="0">
              <a:solidFill>
                <a:schemeClr val="bg1"/>
              </a:solidFill>
              <a:latin typeface="Calibri" panose="020F0502020204030204" pitchFamily="34" charset="0"/>
              <a:ea typeface="宋体" panose="02010600030101010101" pitchFamily="2" charset="-122"/>
              <a:sym typeface="+mn-ea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9185910" y="1846580"/>
            <a:ext cx="1443355" cy="368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spAutoFit/>
          </a:bodyPr>
          <a:p>
            <a:pPr algn="ctr"/>
            <a:r>
              <a:rPr kumimoji="1" lang="en-US" altLang="zh-CN" b="1" dirty="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step4</a:t>
            </a:r>
            <a:endParaRPr kumimoji="1" lang="en-US" altLang="zh-CN" b="1" dirty="0">
              <a:solidFill>
                <a:schemeClr val="tx1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666750" y="4846320"/>
            <a:ext cx="2583815" cy="935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样本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特征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en-US" altLang="zh-CN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Y</a:t>
            </a:r>
            <a:r>
              <a: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变量</a:t>
            </a:r>
            <a:endParaRPr kumimoji="1"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3425190" y="4162425"/>
            <a:ext cx="2583815" cy="68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algn="l">
              <a:lnSpc>
                <a:spcPct val="120000"/>
              </a:lnSpc>
            </a:pPr>
            <a:r>
              <a:rPr kumimoji="1" lang="zh-CN" altLang="fr-FR" sz="14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每个特征或交叉特征的每一个取值，如连续变量需分箱：</a:t>
            </a:r>
            <a:endParaRPr kumimoji="1" lang="zh-CN" altLang="fr-FR" sz="140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algn="l">
              <a:lnSpc>
                <a:spcPct val="120000"/>
              </a:lnSpc>
            </a:pPr>
            <a:endParaRPr kumimoji="1"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3425190" y="4846320"/>
            <a:ext cx="2583815" cy="14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样本量、占比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正样本量、占比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精确率、召回率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IV</a:t>
            </a:r>
            <a:endParaRPr kumimoji="1" 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...</a:t>
            </a:r>
            <a:endParaRPr kumimoji="1" 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6183630" y="4162425"/>
            <a:ext cx="2583815" cy="68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algn="l">
              <a:lnSpc>
                <a:spcPct val="120000"/>
              </a:lnSpc>
            </a:pPr>
            <a:r>
              <a: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设定</a:t>
            </a:r>
            <a:r>
              <a:rPr kumimoji="1" lang="en-US" altLang="zh-CN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IV</a:t>
            </a:r>
            <a:r>
              <a: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、召回率的阈值，筛选特征及规则</a:t>
            </a:r>
            <a:endParaRPr kumimoji="1"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6183630" y="4846320"/>
            <a:ext cx="2583815" cy="14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样本量、占比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正样本量、占比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精确率、召回率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IV</a:t>
            </a:r>
            <a:endParaRPr kumimoji="1" 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...</a:t>
            </a:r>
            <a:endParaRPr kumimoji="1" 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8941435" y="4162425"/>
            <a:ext cx="2583815" cy="68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algn="l">
              <a:lnSpc>
                <a:spcPct val="120000"/>
              </a:lnSpc>
            </a:pPr>
            <a:r>
              <a:rPr kumimoji="1" lang="zh-CN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设置多个时间窗，验证规则稳定性</a:t>
            </a:r>
            <a:endParaRPr kumimoji="1" lang="zh-CN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三：融合模型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比赛王道之选</a:t>
            </a:r>
            <a:endParaRPr lang="zh-CN" altLang="en-US" sz="2800" b="1" smtClean="0">
              <a:solidFill>
                <a:srgbClr val="F05A23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dirty="0" smtClean="0"/>
              <a:t>模型融合常用方法</a:t>
            </a:r>
            <a:endParaRPr lang="zh-CN" altLang="en-US" dirty="0" smtClean="0"/>
          </a:p>
        </p:txBody>
      </p:sp>
      <p:sp>
        <p:nvSpPr>
          <p:cNvPr id="7" name="文本框 6"/>
          <p:cNvSpPr txBox="1"/>
          <p:nvPr/>
        </p:nvSpPr>
        <p:spPr>
          <a:xfrm>
            <a:off x="1339215" y="1584960"/>
            <a:ext cx="2453640" cy="35496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sz="1600" dirty="0" smtClean="0"/>
              <a:t>voting</a:t>
            </a:r>
            <a:r>
              <a:rPr lang="zh-CN" altLang="en-US" sz="1600" dirty="0" smtClean="0"/>
              <a:t>投票（分类模型）</a:t>
            </a:r>
            <a:endParaRPr lang="zh-CN" altLang="en-US" sz="1600" dirty="0" smtClean="0"/>
          </a:p>
        </p:txBody>
      </p:sp>
      <p:sp>
        <p:nvSpPr>
          <p:cNvPr id="10" name="文本框 9"/>
          <p:cNvSpPr txBox="1"/>
          <p:nvPr/>
        </p:nvSpPr>
        <p:spPr>
          <a:xfrm>
            <a:off x="1158240" y="3891280"/>
            <a:ext cx="4340860" cy="173291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硬投票</a:t>
            </a:r>
            <a:r>
              <a:rPr lang="zh-CN" altLang="en-US" sz="1400" dirty="0" smtClean="0"/>
              <a:t>：最终结果为</a:t>
            </a:r>
            <a:r>
              <a:rPr lang="en-US" altLang="zh-CN" sz="1400" dirty="0" smtClean="0"/>
              <a:t>0</a:t>
            </a:r>
            <a:endParaRPr lang="en-US" altLang="zh-CN" sz="1400" dirty="0" smtClean="0"/>
          </a:p>
          <a:p>
            <a:pPr marL="106045" indent="0" fontAlgn="auto">
              <a:lnSpc>
                <a:spcPts val="2300"/>
              </a:lnSpc>
              <a:buFont typeface="Arial" panose="020B0604020202020204" pitchFamily="34" charset="0"/>
              <a:buNone/>
            </a:pPr>
            <a:r>
              <a:rPr lang="en-US" altLang="zh-CN" sz="1400" dirty="0" smtClean="0"/>
              <a:t>      </a:t>
            </a:r>
            <a:r>
              <a:rPr lang="zh-CN" altLang="en-US" sz="1400" dirty="0" smtClean="0"/>
              <a:t>弊端：未考虑概率值大小</a:t>
            </a:r>
            <a:endParaRPr lang="zh-CN" altLang="en-US" sz="1400" dirty="0" smtClean="0"/>
          </a:p>
          <a:p>
            <a:pPr marL="106045" indent="0" fontAlgn="auto">
              <a:lnSpc>
                <a:spcPts val="2300"/>
              </a:lnSpc>
              <a:buFont typeface="Arial" panose="020B0604020202020204" pitchFamily="34" charset="0"/>
              <a:buNone/>
            </a:pPr>
            <a:endParaRPr lang="en-US" altLang="zh-CN" sz="1400" dirty="0" smtClean="0"/>
          </a:p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软投票</a:t>
            </a:r>
            <a:r>
              <a:rPr lang="zh-CN" altLang="en-US" sz="1400" dirty="0" smtClean="0"/>
              <a:t>：</a:t>
            </a:r>
            <a:r>
              <a:rPr lang="en-US" altLang="zh-CN" sz="1400" dirty="0" smtClean="0"/>
              <a:t>(0.9+0.49+0.4+0.8+0.2)/5=0.558</a:t>
            </a:r>
            <a:r>
              <a:rPr lang="zh-CN" altLang="en-US" sz="1400" dirty="0" smtClean="0"/>
              <a:t>，大于阈值</a:t>
            </a:r>
            <a:r>
              <a:rPr lang="en-US" altLang="zh-CN" sz="1400" dirty="0" smtClean="0"/>
              <a:t>0.5</a:t>
            </a:r>
            <a:r>
              <a:rPr lang="zh-CN" altLang="en-US" sz="1400" dirty="0" smtClean="0"/>
              <a:t>，最终结果为</a:t>
            </a:r>
            <a:r>
              <a:rPr lang="en-US" altLang="zh-CN" sz="1400" dirty="0" smtClean="0"/>
              <a:t>1</a:t>
            </a:r>
            <a:endParaRPr lang="en-US" altLang="zh-CN" sz="1400" dirty="0" smtClean="0"/>
          </a:p>
        </p:txBody>
      </p:sp>
      <p:graphicFrame>
        <p:nvGraphicFramePr>
          <p:cNvPr id="13" name="表格 12"/>
          <p:cNvGraphicFramePr/>
          <p:nvPr/>
        </p:nvGraphicFramePr>
        <p:xfrm>
          <a:off x="1735455" y="1961515"/>
          <a:ext cx="2057400" cy="1295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85800"/>
                <a:gridCol w="685800"/>
                <a:gridCol w="685800"/>
              </a:tblGrid>
              <a:tr h="2159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模型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样本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阈值0.5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1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9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1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2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49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3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4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4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8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1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5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2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</a:tbl>
          </a:graphicData>
        </a:graphic>
      </p:graphicFrame>
      <p:sp>
        <p:nvSpPr>
          <p:cNvPr id="28" name="sync-symbol_73424"/>
          <p:cNvSpPr>
            <a:spLocks noChangeAspect="1"/>
          </p:cNvSpPr>
          <p:nvPr/>
        </p:nvSpPr>
        <p:spPr bwMode="auto">
          <a:xfrm>
            <a:off x="1052830" y="1575435"/>
            <a:ext cx="316230" cy="382270"/>
          </a:xfrm>
          <a:custGeom>
            <a:avLst/>
            <a:gdLst>
              <a:gd name="connsiteX0" fmla="*/ 404210 w 503090"/>
              <a:gd name="connsiteY0" fmla="*/ 172161 h 607710"/>
              <a:gd name="connsiteX1" fmla="*/ 398125 w 503090"/>
              <a:gd name="connsiteY1" fmla="*/ 175935 h 607710"/>
              <a:gd name="connsiteX2" fmla="*/ 401997 w 503090"/>
              <a:gd name="connsiteY2" fmla="*/ 182010 h 607710"/>
              <a:gd name="connsiteX3" fmla="*/ 444964 w 503090"/>
              <a:gd name="connsiteY3" fmla="*/ 191675 h 607710"/>
              <a:gd name="connsiteX4" fmla="*/ 446070 w 503090"/>
              <a:gd name="connsiteY4" fmla="*/ 191767 h 607710"/>
              <a:gd name="connsiteX5" fmla="*/ 451049 w 503090"/>
              <a:gd name="connsiteY5" fmla="*/ 187809 h 607710"/>
              <a:gd name="connsiteX6" fmla="*/ 447177 w 503090"/>
              <a:gd name="connsiteY6" fmla="*/ 181734 h 607710"/>
              <a:gd name="connsiteX7" fmla="*/ 394252 w 503090"/>
              <a:gd name="connsiteY7" fmla="*/ 138289 h 607710"/>
              <a:gd name="connsiteX8" fmla="*/ 388167 w 503090"/>
              <a:gd name="connsiteY8" fmla="*/ 142155 h 607710"/>
              <a:gd name="connsiteX9" fmla="*/ 392039 w 503090"/>
              <a:gd name="connsiteY9" fmla="*/ 148137 h 607710"/>
              <a:gd name="connsiteX10" fmla="*/ 468475 w 503090"/>
              <a:gd name="connsiteY10" fmla="*/ 165350 h 607710"/>
              <a:gd name="connsiteX11" fmla="*/ 469582 w 503090"/>
              <a:gd name="connsiteY11" fmla="*/ 165442 h 607710"/>
              <a:gd name="connsiteX12" fmla="*/ 474561 w 503090"/>
              <a:gd name="connsiteY12" fmla="*/ 161484 h 607710"/>
              <a:gd name="connsiteX13" fmla="*/ 470688 w 503090"/>
              <a:gd name="connsiteY13" fmla="*/ 155409 h 607710"/>
              <a:gd name="connsiteX14" fmla="*/ 388997 w 503090"/>
              <a:gd name="connsiteY14" fmla="*/ 97697 h 607710"/>
              <a:gd name="connsiteX15" fmla="*/ 410296 w 503090"/>
              <a:gd name="connsiteY15" fmla="*/ 102483 h 607710"/>
              <a:gd name="connsiteX16" fmla="*/ 409281 w 503090"/>
              <a:gd name="connsiteY16" fmla="*/ 107086 h 607710"/>
              <a:gd name="connsiteX17" fmla="*/ 419700 w 503090"/>
              <a:gd name="connsiteY17" fmla="*/ 123654 h 607710"/>
              <a:gd name="connsiteX18" fmla="*/ 452616 w 503090"/>
              <a:gd name="connsiteY18" fmla="*/ 131017 h 607710"/>
              <a:gd name="connsiteX19" fmla="*/ 470411 w 503090"/>
              <a:gd name="connsiteY19" fmla="*/ 120708 h 607710"/>
              <a:gd name="connsiteX20" fmla="*/ 471426 w 503090"/>
              <a:gd name="connsiteY20" fmla="*/ 116106 h 607710"/>
              <a:gd name="connsiteX21" fmla="*/ 492817 w 503090"/>
              <a:gd name="connsiteY21" fmla="*/ 120892 h 607710"/>
              <a:gd name="connsiteX22" fmla="*/ 501115 w 503090"/>
              <a:gd name="connsiteY22" fmla="*/ 126691 h 607710"/>
              <a:gd name="connsiteX23" fmla="*/ 502774 w 503090"/>
              <a:gd name="connsiteY23" fmla="*/ 136632 h 607710"/>
              <a:gd name="connsiteX24" fmla="*/ 469213 w 503090"/>
              <a:gd name="connsiteY24" fmla="*/ 285929 h 607710"/>
              <a:gd name="connsiteX25" fmla="*/ 453446 w 503090"/>
              <a:gd name="connsiteY25" fmla="*/ 295869 h 607710"/>
              <a:gd name="connsiteX26" fmla="*/ 411494 w 503090"/>
              <a:gd name="connsiteY26" fmla="*/ 286481 h 607710"/>
              <a:gd name="connsiteX27" fmla="*/ 428736 w 503090"/>
              <a:gd name="connsiteY27" fmla="*/ 219104 h 607710"/>
              <a:gd name="connsiteX28" fmla="*/ 359584 w 503090"/>
              <a:gd name="connsiteY28" fmla="*/ 199498 h 607710"/>
              <a:gd name="connsiteX29" fmla="*/ 351655 w 503090"/>
              <a:gd name="connsiteY29" fmla="*/ 203917 h 607710"/>
              <a:gd name="connsiteX30" fmla="*/ 373322 w 503090"/>
              <a:gd name="connsiteY30" fmla="*/ 107546 h 607710"/>
              <a:gd name="connsiteX31" fmla="*/ 388997 w 503090"/>
              <a:gd name="connsiteY31" fmla="*/ 97697 h 607710"/>
              <a:gd name="connsiteX32" fmla="*/ 427054 w 503090"/>
              <a:gd name="connsiteY32" fmla="*/ 87148 h 607710"/>
              <a:gd name="connsiteX33" fmla="*/ 427884 w 503090"/>
              <a:gd name="connsiteY33" fmla="*/ 87240 h 607710"/>
              <a:gd name="connsiteX34" fmla="*/ 461971 w 503090"/>
              <a:gd name="connsiteY34" fmla="*/ 94892 h 607710"/>
              <a:gd name="connsiteX35" fmla="*/ 464827 w 503090"/>
              <a:gd name="connsiteY35" fmla="*/ 99317 h 607710"/>
              <a:gd name="connsiteX36" fmla="*/ 460404 w 503090"/>
              <a:gd name="connsiteY36" fmla="*/ 118585 h 607710"/>
              <a:gd name="connsiteX37" fmla="*/ 458838 w 503090"/>
              <a:gd name="connsiteY37" fmla="*/ 120890 h 607710"/>
              <a:gd name="connsiteX38" fmla="*/ 456904 w 503090"/>
              <a:gd name="connsiteY38" fmla="*/ 121443 h 607710"/>
              <a:gd name="connsiteX39" fmla="*/ 456074 w 503090"/>
              <a:gd name="connsiteY39" fmla="*/ 121351 h 607710"/>
              <a:gd name="connsiteX40" fmla="*/ 421895 w 503090"/>
              <a:gd name="connsiteY40" fmla="*/ 113699 h 607710"/>
              <a:gd name="connsiteX41" fmla="*/ 419132 w 503090"/>
              <a:gd name="connsiteY41" fmla="*/ 109274 h 607710"/>
              <a:gd name="connsiteX42" fmla="*/ 423462 w 503090"/>
              <a:gd name="connsiteY42" fmla="*/ 90098 h 607710"/>
              <a:gd name="connsiteX43" fmla="*/ 427054 w 503090"/>
              <a:gd name="connsiteY43" fmla="*/ 87148 h 607710"/>
              <a:gd name="connsiteX44" fmla="*/ 39020 w 503090"/>
              <a:gd name="connsiteY44" fmla="*/ 50484 h 607710"/>
              <a:gd name="connsiteX45" fmla="*/ 57224 w 503090"/>
              <a:gd name="connsiteY45" fmla="*/ 65108 h 607710"/>
              <a:gd name="connsiteX46" fmla="*/ 88655 w 503090"/>
              <a:gd name="connsiteY46" fmla="*/ 122267 h 607710"/>
              <a:gd name="connsiteX47" fmla="*/ 161103 w 503090"/>
              <a:gd name="connsiteY47" fmla="*/ 155404 h 607710"/>
              <a:gd name="connsiteX48" fmla="*/ 253736 w 503090"/>
              <a:gd name="connsiteY48" fmla="*/ 155404 h 607710"/>
              <a:gd name="connsiteX49" fmla="*/ 296136 w 503090"/>
              <a:gd name="connsiteY49" fmla="*/ 177678 h 607710"/>
              <a:gd name="connsiteX50" fmla="*/ 336138 w 503090"/>
              <a:gd name="connsiteY50" fmla="*/ 235850 h 607710"/>
              <a:gd name="connsiteX51" fmla="*/ 369413 w 503090"/>
              <a:gd name="connsiteY51" fmla="*/ 217257 h 607710"/>
              <a:gd name="connsiteX52" fmla="*/ 410890 w 503090"/>
              <a:gd name="connsiteY52" fmla="*/ 228947 h 607710"/>
              <a:gd name="connsiteX53" fmla="*/ 399184 w 503090"/>
              <a:gd name="connsiteY53" fmla="*/ 270367 h 607710"/>
              <a:gd name="connsiteX54" fmla="*/ 341577 w 503090"/>
              <a:gd name="connsiteY54" fmla="*/ 302491 h 607710"/>
              <a:gd name="connsiteX55" fmla="*/ 326737 w 503090"/>
              <a:gd name="connsiteY55" fmla="*/ 306356 h 607710"/>
              <a:gd name="connsiteX56" fmla="*/ 301574 w 503090"/>
              <a:gd name="connsiteY56" fmla="*/ 293194 h 607710"/>
              <a:gd name="connsiteX57" fmla="*/ 283416 w 503090"/>
              <a:gd name="connsiteY57" fmla="*/ 266777 h 607710"/>
              <a:gd name="connsiteX58" fmla="*/ 283416 w 503090"/>
              <a:gd name="connsiteY58" fmla="*/ 576875 h 607710"/>
              <a:gd name="connsiteX59" fmla="*/ 252630 w 503090"/>
              <a:gd name="connsiteY59" fmla="*/ 607710 h 607710"/>
              <a:gd name="connsiteX60" fmla="*/ 221752 w 503090"/>
              <a:gd name="connsiteY60" fmla="*/ 576875 h 607710"/>
              <a:gd name="connsiteX61" fmla="*/ 221752 w 503090"/>
              <a:gd name="connsiteY61" fmla="*/ 392786 h 607710"/>
              <a:gd name="connsiteX62" fmla="*/ 197419 w 503090"/>
              <a:gd name="connsiteY62" fmla="*/ 392786 h 607710"/>
              <a:gd name="connsiteX63" fmla="*/ 197419 w 503090"/>
              <a:gd name="connsiteY63" fmla="*/ 576875 h 607710"/>
              <a:gd name="connsiteX64" fmla="*/ 166541 w 503090"/>
              <a:gd name="connsiteY64" fmla="*/ 607710 h 607710"/>
              <a:gd name="connsiteX65" fmla="*/ 135663 w 503090"/>
              <a:gd name="connsiteY65" fmla="*/ 576875 h 607710"/>
              <a:gd name="connsiteX66" fmla="*/ 135663 w 503090"/>
              <a:gd name="connsiteY66" fmla="*/ 210722 h 607710"/>
              <a:gd name="connsiteX67" fmla="*/ 53998 w 503090"/>
              <a:gd name="connsiteY67" fmla="*/ 173352 h 607710"/>
              <a:gd name="connsiteX68" fmla="*/ 39988 w 503090"/>
              <a:gd name="connsiteY68" fmla="*/ 160374 h 607710"/>
              <a:gd name="connsiteX69" fmla="*/ 3764 w 503090"/>
              <a:gd name="connsiteY69" fmla="*/ 94378 h 607710"/>
              <a:gd name="connsiteX70" fmla="*/ 15839 w 503090"/>
              <a:gd name="connsiteY70" fmla="*/ 53050 h 607710"/>
              <a:gd name="connsiteX71" fmla="*/ 39020 w 503090"/>
              <a:gd name="connsiteY71" fmla="*/ 50484 h 607710"/>
              <a:gd name="connsiteX72" fmla="*/ 209572 w 503090"/>
              <a:gd name="connsiteY72" fmla="*/ 0 h 607710"/>
              <a:gd name="connsiteX73" fmla="*/ 276715 w 503090"/>
              <a:gd name="connsiteY73" fmla="*/ 67073 h 607710"/>
              <a:gd name="connsiteX74" fmla="*/ 209572 w 503090"/>
              <a:gd name="connsiteY74" fmla="*/ 134146 h 607710"/>
              <a:gd name="connsiteX75" fmla="*/ 142429 w 503090"/>
              <a:gd name="connsiteY75" fmla="*/ 67073 h 607710"/>
              <a:gd name="connsiteX76" fmla="*/ 209572 w 503090"/>
              <a:gd name="connsiteY76" fmla="*/ 0 h 60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03090" h="607710">
                <a:moveTo>
                  <a:pt x="404210" y="172161"/>
                </a:moveTo>
                <a:cubicBezTo>
                  <a:pt x="401352" y="171517"/>
                  <a:pt x="398770" y="173266"/>
                  <a:pt x="398125" y="175935"/>
                </a:cubicBezTo>
                <a:cubicBezTo>
                  <a:pt x="397479" y="178696"/>
                  <a:pt x="399231" y="181458"/>
                  <a:pt x="401997" y="182010"/>
                </a:cubicBezTo>
                <a:lnTo>
                  <a:pt x="444964" y="191675"/>
                </a:lnTo>
                <a:cubicBezTo>
                  <a:pt x="445332" y="191767"/>
                  <a:pt x="445701" y="191767"/>
                  <a:pt x="446070" y="191767"/>
                </a:cubicBezTo>
                <a:cubicBezTo>
                  <a:pt x="448375" y="191767"/>
                  <a:pt x="450496" y="190202"/>
                  <a:pt x="451049" y="187809"/>
                </a:cubicBezTo>
                <a:cubicBezTo>
                  <a:pt x="451602" y="185139"/>
                  <a:pt x="449943" y="182378"/>
                  <a:pt x="447177" y="181734"/>
                </a:cubicBezTo>
                <a:close/>
                <a:moveTo>
                  <a:pt x="394252" y="138289"/>
                </a:moveTo>
                <a:cubicBezTo>
                  <a:pt x="391394" y="137644"/>
                  <a:pt x="388812" y="139393"/>
                  <a:pt x="388167" y="142155"/>
                </a:cubicBezTo>
                <a:cubicBezTo>
                  <a:pt x="387522" y="144824"/>
                  <a:pt x="389273" y="147585"/>
                  <a:pt x="392039" y="148137"/>
                </a:cubicBezTo>
                <a:lnTo>
                  <a:pt x="468475" y="165350"/>
                </a:lnTo>
                <a:cubicBezTo>
                  <a:pt x="468844" y="165442"/>
                  <a:pt x="469213" y="165442"/>
                  <a:pt x="469582" y="165442"/>
                </a:cubicBezTo>
                <a:cubicBezTo>
                  <a:pt x="471887" y="165442"/>
                  <a:pt x="474007" y="163877"/>
                  <a:pt x="474561" y="161484"/>
                </a:cubicBezTo>
                <a:cubicBezTo>
                  <a:pt x="475114" y="158723"/>
                  <a:pt x="473454" y="156053"/>
                  <a:pt x="470688" y="155409"/>
                </a:cubicBezTo>
                <a:close/>
                <a:moveTo>
                  <a:pt x="388997" y="97697"/>
                </a:moveTo>
                <a:lnTo>
                  <a:pt x="410296" y="102483"/>
                </a:lnTo>
                <a:lnTo>
                  <a:pt x="409281" y="107086"/>
                </a:lnTo>
                <a:cubicBezTo>
                  <a:pt x="407622" y="114541"/>
                  <a:pt x="412324" y="121905"/>
                  <a:pt x="419700" y="123654"/>
                </a:cubicBezTo>
                <a:cubicBezTo>
                  <a:pt x="419700" y="123654"/>
                  <a:pt x="443120" y="129084"/>
                  <a:pt x="452616" y="131017"/>
                </a:cubicBezTo>
                <a:cubicBezTo>
                  <a:pt x="465433" y="133594"/>
                  <a:pt x="469674" y="124298"/>
                  <a:pt x="470411" y="120708"/>
                </a:cubicBezTo>
                <a:lnTo>
                  <a:pt x="471426" y="116106"/>
                </a:lnTo>
                <a:lnTo>
                  <a:pt x="492817" y="120892"/>
                </a:lnTo>
                <a:cubicBezTo>
                  <a:pt x="496228" y="121721"/>
                  <a:pt x="499179" y="123746"/>
                  <a:pt x="501115" y="126691"/>
                </a:cubicBezTo>
                <a:cubicBezTo>
                  <a:pt x="502959" y="129636"/>
                  <a:pt x="503512" y="133226"/>
                  <a:pt x="502774" y="136632"/>
                </a:cubicBezTo>
                <a:lnTo>
                  <a:pt x="469213" y="285929"/>
                </a:lnTo>
                <a:cubicBezTo>
                  <a:pt x="467553" y="293016"/>
                  <a:pt x="460546" y="297434"/>
                  <a:pt x="453446" y="295869"/>
                </a:cubicBezTo>
                <a:lnTo>
                  <a:pt x="411494" y="286481"/>
                </a:lnTo>
                <a:cubicBezTo>
                  <a:pt x="434084" y="272122"/>
                  <a:pt x="441921" y="242667"/>
                  <a:pt x="428736" y="219104"/>
                </a:cubicBezTo>
                <a:cubicBezTo>
                  <a:pt x="414998" y="194620"/>
                  <a:pt x="384018" y="185876"/>
                  <a:pt x="359584" y="199498"/>
                </a:cubicBezTo>
                <a:lnTo>
                  <a:pt x="351655" y="203917"/>
                </a:lnTo>
                <a:lnTo>
                  <a:pt x="373322" y="107546"/>
                </a:lnTo>
                <a:cubicBezTo>
                  <a:pt x="374890" y="100550"/>
                  <a:pt x="381897" y="96040"/>
                  <a:pt x="388997" y="97697"/>
                </a:cubicBezTo>
                <a:close/>
                <a:moveTo>
                  <a:pt x="427054" y="87148"/>
                </a:moveTo>
                <a:cubicBezTo>
                  <a:pt x="427331" y="87148"/>
                  <a:pt x="427607" y="87240"/>
                  <a:pt x="427884" y="87240"/>
                </a:cubicBezTo>
                <a:lnTo>
                  <a:pt x="461971" y="94892"/>
                </a:lnTo>
                <a:cubicBezTo>
                  <a:pt x="463997" y="95353"/>
                  <a:pt x="465195" y="97381"/>
                  <a:pt x="464827" y="99317"/>
                </a:cubicBezTo>
                <a:lnTo>
                  <a:pt x="460404" y="118585"/>
                </a:lnTo>
                <a:cubicBezTo>
                  <a:pt x="460220" y="119599"/>
                  <a:pt x="459667" y="120429"/>
                  <a:pt x="458838" y="120890"/>
                </a:cubicBezTo>
                <a:cubicBezTo>
                  <a:pt x="458286" y="121259"/>
                  <a:pt x="457549" y="121443"/>
                  <a:pt x="456904" y="121443"/>
                </a:cubicBezTo>
                <a:cubicBezTo>
                  <a:pt x="456627" y="121443"/>
                  <a:pt x="456351" y="121443"/>
                  <a:pt x="456074" y="121351"/>
                </a:cubicBezTo>
                <a:lnTo>
                  <a:pt x="421895" y="113699"/>
                </a:lnTo>
                <a:cubicBezTo>
                  <a:pt x="419961" y="113238"/>
                  <a:pt x="418763" y="111302"/>
                  <a:pt x="419132" y="109274"/>
                </a:cubicBezTo>
                <a:lnTo>
                  <a:pt x="423462" y="90098"/>
                </a:lnTo>
                <a:cubicBezTo>
                  <a:pt x="423922" y="88347"/>
                  <a:pt x="425396" y="87148"/>
                  <a:pt x="427054" y="87148"/>
                </a:cubicBezTo>
                <a:close/>
                <a:moveTo>
                  <a:pt x="39020" y="50484"/>
                </a:moveTo>
                <a:cubicBezTo>
                  <a:pt x="46509" y="52659"/>
                  <a:pt x="53169" y="57698"/>
                  <a:pt x="57224" y="65108"/>
                </a:cubicBezTo>
                <a:lnTo>
                  <a:pt x="88655" y="122267"/>
                </a:lnTo>
                <a:lnTo>
                  <a:pt x="161103" y="155404"/>
                </a:lnTo>
                <a:lnTo>
                  <a:pt x="253736" y="155404"/>
                </a:lnTo>
                <a:cubicBezTo>
                  <a:pt x="270696" y="155404"/>
                  <a:pt x="286550" y="163688"/>
                  <a:pt x="296136" y="177678"/>
                </a:cubicBezTo>
                <a:lnTo>
                  <a:pt x="336138" y="235850"/>
                </a:lnTo>
                <a:lnTo>
                  <a:pt x="369413" y="217257"/>
                </a:lnTo>
                <a:cubicBezTo>
                  <a:pt x="384160" y="209065"/>
                  <a:pt x="402687" y="214312"/>
                  <a:pt x="410890" y="228947"/>
                </a:cubicBezTo>
                <a:cubicBezTo>
                  <a:pt x="419186" y="243674"/>
                  <a:pt x="413840" y="262175"/>
                  <a:pt x="399184" y="270367"/>
                </a:cubicBezTo>
                <a:lnTo>
                  <a:pt x="341577" y="302491"/>
                </a:lnTo>
                <a:cubicBezTo>
                  <a:pt x="336876" y="305160"/>
                  <a:pt x="331806" y="306356"/>
                  <a:pt x="326737" y="306356"/>
                </a:cubicBezTo>
                <a:cubicBezTo>
                  <a:pt x="316967" y="306356"/>
                  <a:pt x="307473" y="301754"/>
                  <a:pt x="301574" y="293194"/>
                </a:cubicBezTo>
                <a:lnTo>
                  <a:pt x="283416" y="266777"/>
                </a:lnTo>
                <a:lnTo>
                  <a:pt x="283416" y="576875"/>
                </a:lnTo>
                <a:cubicBezTo>
                  <a:pt x="283416" y="593903"/>
                  <a:pt x="269590" y="607710"/>
                  <a:pt x="252630" y="607710"/>
                </a:cubicBezTo>
                <a:cubicBezTo>
                  <a:pt x="235578" y="607710"/>
                  <a:pt x="221752" y="593903"/>
                  <a:pt x="221752" y="576875"/>
                </a:cubicBezTo>
                <a:lnTo>
                  <a:pt x="221752" y="392786"/>
                </a:lnTo>
                <a:lnTo>
                  <a:pt x="197419" y="392786"/>
                </a:lnTo>
                <a:lnTo>
                  <a:pt x="197419" y="576875"/>
                </a:lnTo>
                <a:cubicBezTo>
                  <a:pt x="197419" y="593903"/>
                  <a:pt x="183593" y="607710"/>
                  <a:pt x="166541" y="607710"/>
                </a:cubicBezTo>
                <a:cubicBezTo>
                  <a:pt x="149489" y="607710"/>
                  <a:pt x="135663" y="593903"/>
                  <a:pt x="135663" y="576875"/>
                </a:cubicBezTo>
                <a:lnTo>
                  <a:pt x="135663" y="210722"/>
                </a:lnTo>
                <a:lnTo>
                  <a:pt x="53998" y="173352"/>
                </a:lnTo>
                <a:cubicBezTo>
                  <a:pt x="48099" y="170683"/>
                  <a:pt x="43122" y="166081"/>
                  <a:pt x="39988" y="160374"/>
                </a:cubicBezTo>
                <a:lnTo>
                  <a:pt x="3764" y="94378"/>
                </a:lnTo>
                <a:cubicBezTo>
                  <a:pt x="-4347" y="79651"/>
                  <a:pt x="1091" y="61150"/>
                  <a:pt x="15839" y="53050"/>
                </a:cubicBezTo>
                <a:cubicBezTo>
                  <a:pt x="23213" y="49000"/>
                  <a:pt x="31531" y="48310"/>
                  <a:pt x="39020" y="50484"/>
                </a:cubicBezTo>
                <a:close/>
                <a:moveTo>
                  <a:pt x="209572" y="0"/>
                </a:moveTo>
                <a:cubicBezTo>
                  <a:pt x="246654" y="0"/>
                  <a:pt x="276715" y="30030"/>
                  <a:pt x="276715" y="67073"/>
                </a:cubicBezTo>
                <a:cubicBezTo>
                  <a:pt x="276715" y="104116"/>
                  <a:pt x="246654" y="134146"/>
                  <a:pt x="209572" y="134146"/>
                </a:cubicBezTo>
                <a:cubicBezTo>
                  <a:pt x="172490" y="134146"/>
                  <a:pt x="142429" y="104116"/>
                  <a:pt x="142429" y="67073"/>
                </a:cubicBezTo>
                <a:cubicBezTo>
                  <a:pt x="142429" y="30030"/>
                  <a:pt x="172490" y="0"/>
                  <a:pt x="2095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7089775" y="1584960"/>
            <a:ext cx="2999740" cy="35496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600" dirty="0" smtClean="0"/>
              <a:t>平均法（主要是回归模型）</a:t>
            </a:r>
            <a:endParaRPr lang="zh-CN" altLang="en-US" sz="1600" dirty="0" smtClean="0"/>
          </a:p>
        </p:txBody>
      </p:sp>
      <p:sp>
        <p:nvSpPr>
          <p:cNvPr id="17" name="sync-symbol_73424"/>
          <p:cNvSpPr>
            <a:spLocks noChangeAspect="1"/>
          </p:cNvSpPr>
          <p:nvPr/>
        </p:nvSpPr>
        <p:spPr bwMode="auto">
          <a:xfrm>
            <a:off x="6803390" y="1556385"/>
            <a:ext cx="316230" cy="382270"/>
          </a:xfrm>
          <a:custGeom>
            <a:avLst/>
            <a:gdLst>
              <a:gd name="connsiteX0" fmla="*/ 404210 w 503090"/>
              <a:gd name="connsiteY0" fmla="*/ 172161 h 607710"/>
              <a:gd name="connsiteX1" fmla="*/ 398125 w 503090"/>
              <a:gd name="connsiteY1" fmla="*/ 175935 h 607710"/>
              <a:gd name="connsiteX2" fmla="*/ 401997 w 503090"/>
              <a:gd name="connsiteY2" fmla="*/ 182010 h 607710"/>
              <a:gd name="connsiteX3" fmla="*/ 444964 w 503090"/>
              <a:gd name="connsiteY3" fmla="*/ 191675 h 607710"/>
              <a:gd name="connsiteX4" fmla="*/ 446070 w 503090"/>
              <a:gd name="connsiteY4" fmla="*/ 191767 h 607710"/>
              <a:gd name="connsiteX5" fmla="*/ 451049 w 503090"/>
              <a:gd name="connsiteY5" fmla="*/ 187809 h 607710"/>
              <a:gd name="connsiteX6" fmla="*/ 447177 w 503090"/>
              <a:gd name="connsiteY6" fmla="*/ 181734 h 607710"/>
              <a:gd name="connsiteX7" fmla="*/ 394252 w 503090"/>
              <a:gd name="connsiteY7" fmla="*/ 138289 h 607710"/>
              <a:gd name="connsiteX8" fmla="*/ 388167 w 503090"/>
              <a:gd name="connsiteY8" fmla="*/ 142155 h 607710"/>
              <a:gd name="connsiteX9" fmla="*/ 392039 w 503090"/>
              <a:gd name="connsiteY9" fmla="*/ 148137 h 607710"/>
              <a:gd name="connsiteX10" fmla="*/ 468475 w 503090"/>
              <a:gd name="connsiteY10" fmla="*/ 165350 h 607710"/>
              <a:gd name="connsiteX11" fmla="*/ 469582 w 503090"/>
              <a:gd name="connsiteY11" fmla="*/ 165442 h 607710"/>
              <a:gd name="connsiteX12" fmla="*/ 474561 w 503090"/>
              <a:gd name="connsiteY12" fmla="*/ 161484 h 607710"/>
              <a:gd name="connsiteX13" fmla="*/ 470688 w 503090"/>
              <a:gd name="connsiteY13" fmla="*/ 155409 h 607710"/>
              <a:gd name="connsiteX14" fmla="*/ 388997 w 503090"/>
              <a:gd name="connsiteY14" fmla="*/ 97697 h 607710"/>
              <a:gd name="connsiteX15" fmla="*/ 410296 w 503090"/>
              <a:gd name="connsiteY15" fmla="*/ 102483 h 607710"/>
              <a:gd name="connsiteX16" fmla="*/ 409281 w 503090"/>
              <a:gd name="connsiteY16" fmla="*/ 107086 h 607710"/>
              <a:gd name="connsiteX17" fmla="*/ 419700 w 503090"/>
              <a:gd name="connsiteY17" fmla="*/ 123654 h 607710"/>
              <a:gd name="connsiteX18" fmla="*/ 452616 w 503090"/>
              <a:gd name="connsiteY18" fmla="*/ 131017 h 607710"/>
              <a:gd name="connsiteX19" fmla="*/ 470411 w 503090"/>
              <a:gd name="connsiteY19" fmla="*/ 120708 h 607710"/>
              <a:gd name="connsiteX20" fmla="*/ 471426 w 503090"/>
              <a:gd name="connsiteY20" fmla="*/ 116106 h 607710"/>
              <a:gd name="connsiteX21" fmla="*/ 492817 w 503090"/>
              <a:gd name="connsiteY21" fmla="*/ 120892 h 607710"/>
              <a:gd name="connsiteX22" fmla="*/ 501115 w 503090"/>
              <a:gd name="connsiteY22" fmla="*/ 126691 h 607710"/>
              <a:gd name="connsiteX23" fmla="*/ 502774 w 503090"/>
              <a:gd name="connsiteY23" fmla="*/ 136632 h 607710"/>
              <a:gd name="connsiteX24" fmla="*/ 469213 w 503090"/>
              <a:gd name="connsiteY24" fmla="*/ 285929 h 607710"/>
              <a:gd name="connsiteX25" fmla="*/ 453446 w 503090"/>
              <a:gd name="connsiteY25" fmla="*/ 295869 h 607710"/>
              <a:gd name="connsiteX26" fmla="*/ 411494 w 503090"/>
              <a:gd name="connsiteY26" fmla="*/ 286481 h 607710"/>
              <a:gd name="connsiteX27" fmla="*/ 428736 w 503090"/>
              <a:gd name="connsiteY27" fmla="*/ 219104 h 607710"/>
              <a:gd name="connsiteX28" fmla="*/ 359584 w 503090"/>
              <a:gd name="connsiteY28" fmla="*/ 199498 h 607710"/>
              <a:gd name="connsiteX29" fmla="*/ 351655 w 503090"/>
              <a:gd name="connsiteY29" fmla="*/ 203917 h 607710"/>
              <a:gd name="connsiteX30" fmla="*/ 373322 w 503090"/>
              <a:gd name="connsiteY30" fmla="*/ 107546 h 607710"/>
              <a:gd name="connsiteX31" fmla="*/ 388997 w 503090"/>
              <a:gd name="connsiteY31" fmla="*/ 97697 h 607710"/>
              <a:gd name="connsiteX32" fmla="*/ 427054 w 503090"/>
              <a:gd name="connsiteY32" fmla="*/ 87148 h 607710"/>
              <a:gd name="connsiteX33" fmla="*/ 427884 w 503090"/>
              <a:gd name="connsiteY33" fmla="*/ 87240 h 607710"/>
              <a:gd name="connsiteX34" fmla="*/ 461971 w 503090"/>
              <a:gd name="connsiteY34" fmla="*/ 94892 h 607710"/>
              <a:gd name="connsiteX35" fmla="*/ 464827 w 503090"/>
              <a:gd name="connsiteY35" fmla="*/ 99317 h 607710"/>
              <a:gd name="connsiteX36" fmla="*/ 460404 w 503090"/>
              <a:gd name="connsiteY36" fmla="*/ 118585 h 607710"/>
              <a:gd name="connsiteX37" fmla="*/ 458838 w 503090"/>
              <a:gd name="connsiteY37" fmla="*/ 120890 h 607710"/>
              <a:gd name="connsiteX38" fmla="*/ 456904 w 503090"/>
              <a:gd name="connsiteY38" fmla="*/ 121443 h 607710"/>
              <a:gd name="connsiteX39" fmla="*/ 456074 w 503090"/>
              <a:gd name="connsiteY39" fmla="*/ 121351 h 607710"/>
              <a:gd name="connsiteX40" fmla="*/ 421895 w 503090"/>
              <a:gd name="connsiteY40" fmla="*/ 113699 h 607710"/>
              <a:gd name="connsiteX41" fmla="*/ 419132 w 503090"/>
              <a:gd name="connsiteY41" fmla="*/ 109274 h 607710"/>
              <a:gd name="connsiteX42" fmla="*/ 423462 w 503090"/>
              <a:gd name="connsiteY42" fmla="*/ 90098 h 607710"/>
              <a:gd name="connsiteX43" fmla="*/ 427054 w 503090"/>
              <a:gd name="connsiteY43" fmla="*/ 87148 h 607710"/>
              <a:gd name="connsiteX44" fmla="*/ 39020 w 503090"/>
              <a:gd name="connsiteY44" fmla="*/ 50484 h 607710"/>
              <a:gd name="connsiteX45" fmla="*/ 57224 w 503090"/>
              <a:gd name="connsiteY45" fmla="*/ 65108 h 607710"/>
              <a:gd name="connsiteX46" fmla="*/ 88655 w 503090"/>
              <a:gd name="connsiteY46" fmla="*/ 122267 h 607710"/>
              <a:gd name="connsiteX47" fmla="*/ 161103 w 503090"/>
              <a:gd name="connsiteY47" fmla="*/ 155404 h 607710"/>
              <a:gd name="connsiteX48" fmla="*/ 253736 w 503090"/>
              <a:gd name="connsiteY48" fmla="*/ 155404 h 607710"/>
              <a:gd name="connsiteX49" fmla="*/ 296136 w 503090"/>
              <a:gd name="connsiteY49" fmla="*/ 177678 h 607710"/>
              <a:gd name="connsiteX50" fmla="*/ 336138 w 503090"/>
              <a:gd name="connsiteY50" fmla="*/ 235850 h 607710"/>
              <a:gd name="connsiteX51" fmla="*/ 369413 w 503090"/>
              <a:gd name="connsiteY51" fmla="*/ 217257 h 607710"/>
              <a:gd name="connsiteX52" fmla="*/ 410890 w 503090"/>
              <a:gd name="connsiteY52" fmla="*/ 228947 h 607710"/>
              <a:gd name="connsiteX53" fmla="*/ 399184 w 503090"/>
              <a:gd name="connsiteY53" fmla="*/ 270367 h 607710"/>
              <a:gd name="connsiteX54" fmla="*/ 341577 w 503090"/>
              <a:gd name="connsiteY54" fmla="*/ 302491 h 607710"/>
              <a:gd name="connsiteX55" fmla="*/ 326737 w 503090"/>
              <a:gd name="connsiteY55" fmla="*/ 306356 h 607710"/>
              <a:gd name="connsiteX56" fmla="*/ 301574 w 503090"/>
              <a:gd name="connsiteY56" fmla="*/ 293194 h 607710"/>
              <a:gd name="connsiteX57" fmla="*/ 283416 w 503090"/>
              <a:gd name="connsiteY57" fmla="*/ 266777 h 607710"/>
              <a:gd name="connsiteX58" fmla="*/ 283416 w 503090"/>
              <a:gd name="connsiteY58" fmla="*/ 576875 h 607710"/>
              <a:gd name="connsiteX59" fmla="*/ 252630 w 503090"/>
              <a:gd name="connsiteY59" fmla="*/ 607710 h 607710"/>
              <a:gd name="connsiteX60" fmla="*/ 221752 w 503090"/>
              <a:gd name="connsiteY60" fmla="*/ 576875 h 607710"/>
              <a:gd name="connsiteX61" fmla="*/ 221752 w 503090"/>
              <a:gd name="connsiteY61" fmla="*/ 392786 h 607710"/>
              <a:gd name="connsiteX62" fmla="*/ 197419 w 503090"/>
              <a:gd name="connsiteY62" fmla="*/ 392786 h 607710"/>
              <a:gd name="connsiteX63" fmla="*/ 197419 w 503090"/>
              <a:gd name="connsiteY63" fmla="*/ 576875 h 607710"/>
              <a:gd name="connsiteX64" fmla="*/ 166541 w 503090"/>
              <a:gd name="connsiteY64" fmla="*/ 607710 h 607710"/>
              <a:gd name="connsiteX65" fmla="*/ 135663 w 503090"/>
              <a:gd name="connsiteY65" fmla="*/ 576875 h 607710"/>
              <a:gd name="connsiteX66" fmla="*/ 135663 w 503090"/>
              <a:gd name="connsiteY66" fmla="*/ 210722 h 607710"/>
              <a:gd name="connsiteX67" fmla="*/ 53998 w 503090"/>
              <a:gd name="connsiteY67" fmla="*/ 173352 h 607710"/>
              <a:gd name="connsiteX68" fmla="*/ 39988 w 503090"/>
              <a:gd name="connsiteY68" fmla="*/ 160374 h 607710"/>
              <a:gd name="connsiteX69" fmla="*/ 3764 w 503090"/>
              <a:gd name="connsiteY69" fmla="*/ 94378 h 607710"/>
              <a:gd name="connsiteX70" fmla="*/ 15839 w 503090"/>
              <a:gd name="connsiteY70" fmla="*/ 53050 h 607710"/>
              <a:gd name="connsiteX71" fmla="*/ 39020 w 503090"/>
              <a:gd name="connsiteY71" fmla="*/ 50484 h 607710"/>
              <a:gd name="connsiteX72" fmla="*/ 209572 w 503090"/>
              <a:gd name="connsiteY72" fmla="*/ 0 h 607710"/>
              <a:gd name="connsiteX73" fmla="*/ 276715 w 503090"/>
              <a:gd name="connsiteY73" fmla="*/ 67073 h 607710"/>
              <a:gd name="connsiteX74" fmla="*/ 209572 w 503090"/>
              <a:gd name="connsiteY74" fmla="*/ 134146 h 607710"/>
              <a:gd name="connsiteX75" fmla="*/ 142429 w 503090"/>
              <a:gd name="connsiteY75" fmla="*/ 67073 h 607710"/>
              <a:gd name="connsiteX76" fmla="*/ 209572 w 503090"/>
              <a:gd name="connsiteY76" fmla="*/ 0 h 60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03090" h="607710">
                <a:moveTo>
                  <a:pt x="404210" y="172161"/>
                </a:moveTo>
                <a:cubicBezTo>
                  <a:pt x="401352" y="171517"/>
                  <a:pt x="398770" y="173266"/>
                  <a:pt x="398125" y="175935"/>
                </a:cubicBezTo>
                <a:cubicBezTo>
                  <a:pt x="397479" y="178696"/>
                  <a:pt x="399231" y="181458"/>
                  <a:pt x="401997" y="182010"/>
                </a:cubicBezTo>
                <a:lnTo>
                  <a:pt x="444964" y="191675"/>
                </a:lnTo>
                <a:cubicBezTo>
                  <a:pt x="445332" y="191767"/>
                  <a:pt x="445701" y="191767"/>
                  <a:pt x="446070" y="191767"/>
                </a:cubicBezTo>
                <a:cubicBezTo>
                  <a:pt x="448375" y="191767"/>
                  <a:pt x="450496" y="190202"/>
                  <a:pt x="451049" y="187809"/>
                </a:cubicBezTo>
                <a:cubicBezTo>
                  <a:pt x="451602" y="185139"/>
                  <a:pt x="449943" y="182378"/>
                  <a:pt x="447177" y="181734"/>
                </a:cubicBezTo>
                <a:close/>
                <a:moveTo>
                  <a:pt x="394252" y="138289"/>
                </a:moveTo>
                <a:cubicBezTo>
                  <a:pt x="391394" y="137644"/>
                  <a:pt x="388812" y="139393"/>
                  <a:pt x="388167" y="142155"/>
                </a:cubicBezTo>
                <a:cubicBezTo>
                  <a:pt x="387522" y="144824"/>
                  <a:pt x="389273" y="147585"/>
                  <a:pt x="392039" y="148137"/>
                </a:cubicBezTo>
                <a:lnTo>
                  <a:pt x="468475" y="165350"/>
                </a:lnTo>
                <a:cubicBezTo>
                  <a:pt x="468844" y="165442"/>
                  <a:pt x="469213" y="165442"/>
                  <a:pt x="469582" y="165442"/>
                </a:cubicBezTo>
                <a:cubicBezTo>
                  <a:pt x="471887" y="165442"/>
                  <a:pt x="474007" y="163877"/>
                  <a:pt x="474561" y="161484"/>
                </a:cubicBezTo>
                <a:cubicBezTo>
                  <a:pt x="475114" y="158723"/>
                  <a:pt x="473454" y="156053"/>
                  <a:pt x="470688" y="155409"/>
                </a:cubicBezTo>
                <a:close/>
                <a:moveTo>
                  <a:pt x="388997" y="97697"/>
                </a:moveTo>
                <a:lnTo>
                  <a:pt x="410296" y="102483"/>
                </a:lnTo>
                <a:lnTo>
                  <a:pt x="409281" y="107086"/>
                </a:lnTo>
                <a:cubicBezTo>
                  <a:pt x="407622" y="114541"/>
                  <a:pt x="412324" y="121905"/>
                  <a:pt x="419700" y="123654"/>
                </a:cubicBezTo>
                <a:cubicBezTo>
                  <a:pt x="419700" y="123654"/>
                  <a:pt x="443120" y="129084"/>
                  <a:pt x="452616" y="131017"/>
                </a:cubicBezTo>
                <a:cubicBezTo>
                  <a:pt x="465433" y="133594"/>
                  <a:pt x="469674" y="124298"/>
                  <a:pt x="470411" y="120708"/>
                </a:cubicBezTo>
                <a:lnTo>
                  <a:pt x="471426" y="116106"/>
                </a:lnTo>
                <a:lnTo>
                  <a:pt x="492817" y="120892"/>
                </a:lnTo>
                <a:cubicBezTo>
                  <a:pt x="496228" y="121721"/>
                  <a:pt x="499179" y="123746"/>
                  <a:pt x="501115" y="126691"/>
                </a:cubicBezTo>
                <a:cubicBezTo>
                  <a:pt x="502959" y="129636"/>
                  <a:pt x="503512" y="133226"/>
                  <a:pt x="502774" y="136632"/>
                </a:cubicBezTo>
                <a:lnTo>
                  <a:pt x="469213" y="285929"/>
                </a:lnTo>
                <a:cubicBezTo>
                  <a:pt x="467553" y="293016"/>
                  <a:pt x="460546" y="297434"/>
                  <a:pt x="453446" y="295869"/>
                </a:cubicBezTo>
                <a:lnTo>
                  <a:pt x="411494" y="286481"/>
                </a:lnTo>
                <a:cubicBezTo>
                  <a:pt x="434084" y="272122"/>
                  <a:pt x="441921" y="242667"/>
                  <a:pt x="428736" y="219104"/>
                </a:cubicBezTo>
                <a:cubicBezTo>
                  <a:pt x="414998" y="194620"/>
                  <a:pt x="384018" y="185876"/>
                  <a:pt x="359584" y="199498"/>
                </a:cubicBezTo>
                <a:lnTo>
                  <a:pt x="351655" y="203917"/>
                </a:lnTo>
                <a:lnTo>
                  <a:pt x="373322" y="107546"/>
                </a:lnTo>
                <a:cubicBezTo>
                  <a:pt x="374890" y="100550"/>
                  <a:pt x="381897" y="96040"/>
                  <a:pt x="388997" y="97697"/>
                </a:cubicBezTo>
                <a:close/>
                <a:moveTo>
                  <a:pt x="427054" y="87148"/>
                </a:moveTo>
                <a:cubicBezTo>
                  <a:pt x="427331" y="87148"/>
                  <a:pt x="427607" y="87240"/>
                  <a:pt x="427884" y="87240"/>
                </a:cubicBezTo>
                <a:lnTo>
                  <a:pt x="461971" y="94892"/>
                </a:lnTo>
                <a:cubicBezTo>
                  <a:pt x="463997" y="95353"/>
                  <a:pt x="465195" y="97381"/>
                  <a:pt x="464827" y="99317"/>
                </a:cubicBezTo>
                <a:lnTo>
                  <a:pt x="460404" y="118585"/>
                </a:lnTo>
                <a:cubicBezTo>
                  <a:pt x="460220" y="119599"/>
                  <a:pt x="459667" y="120429"/>
                  <a:pt x="458838" y="120890"/>
                </a:cubicBezTo>
                <a:cubicBezTo>
                  <a:pt x="458286" y="121259"/>
                  <a:pt x="457549" y="121443"/>
                  <a:pt x="456904" y="121443"/>
                </a:cubicBezTo>
                <a:cubicBezTo>
                  <a:pt x="456627" y="121443"/>
                  <a:pt x="456351" y="121443"/>
                  <a:pt x="456074" y="121351"/>
                </a:cubicBezTo>
                <a:lnTo>
                  <a:pt x="421895" y="113699"/>
                </a:lnTo>
                <a:cubicBezTo>
                  <a:pt x="419961" y="113238"/>
                  <a:pt x="418763" y="111302"/>
                  <a:pt x="419132" y="109274"/>
                </a:cubicBezTo>
                <a:lnTo>
                  <a:pt x="423462" y="90098"/>
                </a:lnTo>
                <a:cubicBezTo>
                  <a:pt x="423922" y="88347"/>
                  <a:pt x="425396" y="87148"/>
                  <a:pt x="427054" y="87148"/>
                </a:cubicBezTo>
                <a:close/>
                <a:moveTo>
                  <a:pt x="39020" y="50484"/>
                </a:moveTo>
                <a:cubicBezTo>
                  <a:pt x="46509" y="52659"/>
                  <a:pt x="53169" y="57698"/>
                  <a:pt x="57224" y="65108"/>
                </a:cubicBezTo>
                <a:lnTo>
                  <a:pt x="88655" y="122267"/>
                </a:lnTo>
                <a:lnTo>
                  <a:pt x="161103" y="155404"/>
                </a:lnTo>
                <a:lnTo>
                  <a:pt x="253736" y="155404"/>
                </a:lnTo>
                <a:cubicBezTo>
                  <a:pt x="270696" y="155404"/>
                  <a:pt x="286550" y="163688"/>
                  <a:pt x="296136" y="177678"/>
                </a:cubicBezTo>
                <a:lnTo>
                  <a:pt x="336138" y="235850"/>
                </a:lnTo>
                <a:lnTo>
                  <a:pt x="369413" y="217257"/>
                </a:lnTo>
                <a:cubicBezTo>
                  <a:pt x="384160" y="209065"/>
                  <a:pt x="402687" y="214312"/>
                  <a:pt x="410890" y="228947"/>
                </a:cubicBezTo>
                <a:cubicBezTo>
                  <a:pt x="419186" y="243674"/>
                  <a:pt x="413840" y="262175"/>
                  <a:pt x="399184" y="270367"/>
                </a:cubicBezTo>
                <a:lnTo>
                  <a:pt x="341577" y="302491"/>
                </a:lnTo>
                <a:cubicBezTo>
                  <a:pt x="336876" y="305160"/>
                  <a:pt x="331806" y="306356"/>
                  <a:pt x="326737" y="306356"/>
                </a:cubicBezTo>
                <a:cubicBezTo>
                  <a:pt x="316967" y="306356"/>
                  <a:pt x="307473" y="301754"/>
                  <a:pt x="301574" y="293194"/>
                </a:cubicBezTo>
                <a:lnTo>
                  <a:pt x="283416" y="266777"/>
                </a:lnTo>
                <a:lnTo>
                  <a:pt x="283416" y="576875"/>
                </a:lnTo>
                <a:cubicBezTo>
                  <a:pt x="283416" y="593903"/>
                  <a:pt x="269590" y="607710"/>
                  <a:pt x="252630" y="607710"/>
                </a:cubicBezTo>
                <a:cubicBezTo>
                  <a:pt x="235578" y="607710"/>
                  <a:pt x="221752" y="593903"/>
                  <a:pt x="221752" y="576875"/>
                </a:cubicBezTo>
                <a:lnTo>
                  <a:pt x="221752" y="392786"/>
                </a:lnTo>
                <a:lnTo>
                  <a:pt x="197419" y="392786"/>
                </a:lnTo>
                <a:lnTo>
                  <a:pt x="197419" y="576875"/>
                </a:lnTo>
                <a:cubicBezTo>
                  <a:pt x="197419" y="593903"/>
                  <a:pt x="183593" y="607710"/>
                  <a:pt x="166541" y="607710"/>
                </a:cubicBezTo>
                <a:cubicBezTo>
                  <a:pt x="149489" y="607710"/>
                  <a:pt x="135663" y="593903"/>
                  <a:pt x="135663" y="576875"/>
                </a:cubicBezTo>
                <a:lnTo>
                  <a:pt x="135663" y="210722"/>
                </a:lnTo>
                <a:lnTo>
                  <a:pt x="53998" y="173352"/>
                </a:lnTo>
                <a:cubicBezTo>
                  <a:pt x="48099" y="170683"/>
                  <a:pt x="43122" y="166081"/>
                  <a:pt x="39988" y="160374"/>
                </a:cubicBezTo>
                <a:lnTo>
                  <a:pt x="3764" y="94378"/>
                </a:lnTo>
                <a:cubicBezTo>
                  <a:pt x="-4347" y="79651"/>
                  <a:pt x="1091" y="61150"/>
                  <a:pt x="15839" y="53050"/>
                </a:cubicBezTo>
                <a:cubicBezTo>
                  <a:pt x="23213" y="49000"/>
                  <a:pt x="31531" y="48310"/>
                  <a:pt x="39020" y="50484"/>
                </a:cubicBezTo>
                <a:close/>
                <a:moveTo>
                  <a:pt x="209572" y="0"/>
                </a:moveTo>
                <a:cubicBezTo>
                  <a:pt x="246654" y="0"/>
                  <a:pt x="276715" y="30030"/>
                  <a:pt x="276715" y="67073"/>
                </a:cubicBezTo>
                <a:cubicBezTo>
                  <a:pt x="276715" y="104116"/>
                  <a:pt x="246654" y="134146"/>
                  <a:pt x="209572" y="134146"/>
                </a:cubicBezTo>
                <a:cubicBezTo>
                  <a:pt x="172490" y="134146"/>
                  <a:pt x="142429" y="104116"/>
                  <a:pt x="142429" y="67073"/>
                </a:cubicBezTo>
                <a:cubicBezTo>
                  <a:pt x="142429" y="30030"/>
                  <a:pt x="172490" y="0"/>
                  <a:pt x="2095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7379335" y="3891280"/>
            <a:ext cx="4331970" cy="183959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简单平均</a:t>
            </a:r>
            <a:r>
              <a:rPr lang="zh-CN" altLang="en-US" sz="1400" dirty="0" smtClean="0"/>
              <a:t>：和软投票类似，最终结果（</a:t>
            </a:r>
            <a:r>
              <a:rPr lang="en-US" altLang="zh-CN" sz="1400" dirty="0" smtClean="0"/>
              <a:t>18+24+12+96+35</a:t>
            </a:r>
            <a:r>
              <a:rPr lang="zh-CN" altLang="en-US" sz="1400" dirty="0" smtClean="0"/>
              <a:t>）</a:t>
            </a:r>
            <a:r>
              <a:rPr lang="en-US" altLang="zh-CN" sz="1400" dirty="0" smtClean="0"/>
              <a:t>/5=37</a:t>
            </a:r>
            <a:endParaRPr lang="zh-CN" altLang="en-US" sz="1400" dirty="0" smtClean="0"/>
          </a:p>
          <a:p>
            <a:pPr marL="106045" indent="0" fontAlgn="auto">
              <a:lnSpc>
                <a:spcPts val="2300"/>
              </a:lnSpc>
              <a:buFont typeface="Arial" panose="020B0604020202020204" pitchFamily="34" charset="0"/>
              <a:buNone/>
            </a:pPr>
            <a:endParaRPr lang="zh-CN" altLang="en-US" sz="1400" dirty="0" smtClean="0"/>
          </a:p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加权平均</a:t>
            </a:r>
            <a:r>
              <a:rPr lang="zh-CN" altLang="en-US" sz="1400" dirty="0" smtClean="0"/>
              <a:t>：对效果好的模型赋予更大的权重，但确保总权重之和为</a:t>
            </a:r>
            <a:r>
              <a:rPr lang="en-US" altLang="zh-CN" sz="1400" dirty="0" smtClean="0"/>
              <a:t>1</a:t>
            </a:r>
            <a:r>
              <a:rPr lang="zh-CN" altLang="en-US" sz="1400" dirty="0" smtClean="0"/>
              <a:t>，最终结果</a:t>
            </a:r>
            <a:r>
              <a:rPr lang="en-US" altLang="zh-CN" sz="1400" dirty="0" smtClean="0"/>
              <a:t>18*0.2+24*0.5+12*0.15+96*0.05+35*0.1=25.7</a:t>
            </a:r>
            <a:endParaRPr lang="zh-CN" altLang="en-US" sz="1400" dirty="0" smtClean="0"/>
          </a:p>
        </p:txBody>
      </p:sp>
      <p:sp>
        <p:nvSpPr>
          <p:cNvPr id="257" name="Freeform 131"/>
          <p:cNvSpPr>
            <a:spLocks noEditPoints="1"/>
          </p:cNvSpPr>
          <p:nvPr/>
        </p:nvSpPr>
        <p:spPr bwMode="auto">
          <a:xfrm>
            <a:off x="520700" y="1099820"/>
            <a:ext cx="417830" cy="415290"/>
          </a:xfrm>
          <a:custGeom>
            <a:avLst/>
            <a:gdLst>
              <a:gd name="T0" fmla="*/ 20 w 106"/>
              <a:gd name="T1" fmla="*/ 53 h 105"/>
              <a:gd name="T2" fmla="*/ 20 w 106"/>
              <a:gd name="T3" fmla="*/ 49 h 105"/>
              <a:gd name="T4" fmla="*/ 1 w 106"/>
              <a:gd name="T5" fmla="*/ 43 h 105"/>
              <a:gd name="T6" fmla="*/ 0 w 106"/>
              <a:gd name="T7" fmla="*/ 53 h 105"/>
              <a:gd name="T8" fmla="*/ 17 w 106"/>
              <a:gd name="T9" fmla="*/ 91 h 105"/>
              <a:gd name="T10" fmla="*/ 29 w 106"/>
              <a:gd name="T11" fmla="*/ 75 h 105"/>
              <a:gd name="T12" fmla="*/ 20 w 106"/>
              <a:gd name="T13" fmla="*/ 53 h 105"/>
              <a:gd name="T14" fmla="*/ 86 w 106"/>
              <a:gd name="T15" fmla="*/ 53 h 105"/>
              <a:gd name="T16" fmla="*/ 77 w 106"/>
              <a:gd name="T17" fmla="*/ 75 h 105"/>
              <a:gd name="T18" fmla="*/ 89 w 106"/>
              <a:gd name="T19" fmla="*/ 91 h 105"/>
              <a:gd name="T20" fmla="*/ 106 w 106"/>
              <a:gd name="T21" fmla="*/ 53 h 105"/>
              <a:gd name="T22" fmla="*/ 105 w 106"/>
              <a:gd name="T23" fmla="*/ 43 h 105"/>
              <a:gd name="T24" fmla="*/ 86 w 106"/>
              <a:gd name="T25" fmla="*/ 49 h 105"/>
              <a:gd name="T26" fmla="*/ 86 w 106"/>
              <a:gd name="T27" fmla="*/ 53 h 105"/>
              <a:gd name="T28" fmla="*/ 59 w 106"/>
              <a:gd name="T29" fmla="*/ 20 h 105"/>
              <a:gd name="T30" fmla="*/ 82 w 106"/>
              <a:gd name="T31" fmla="*/ 36 h 105"/>
              <a:gd name="T32" fmla="*/ 101 w 106"/>
              <a:gd name="T33" fmla="*/ 30 h 105"/>
              <a:gd name="T34" fmla="*/ 59 w 106"/>
              <a:gd name="T35" fmla="*/ 0 h 105"/>
              <a:gd name="T36" fmla="*/ 59 w 106"/>
              <a:gd name="T37" fmla="*/ 20 h 105"/>
              <a:gd name="T38" fmla="*/ 24 w 106"/>
              <a:gd name="T39" fmla="*/ 36 h 105"/>
              <a:gd name="T40" fmla="*/ 46 w 106"/>
              <a:gd name="T41" fmla="*/ 20 h 105"/>
              <a:gd name="T42" fmla="*/ 46 w 106"/>
              <a:gd name="T43" fmla="*/ 0 h 105"/>
              <a:gd name="T44" fmla="*/ 5 w 106"/>
              <a:gd name="T45" fmla="*/ 30 h 105"/>
              <a:gd name="T46" fmla="*/ 24 w 106"/>
              <a:gd name="T47" fmla="*/ 36 h 105"/>
              <a:gd name="T48" fmla="*/ 67 w 106"/>
              <a:gd name="T49" fmla="*/ 83 h 105"/>
              <a:gd name="T50" fmla="*/ 53 w 106"/>
              <a:gd name="T51" fmla="*/ 85 h 105"/>
              <a:gd name="T52" fmla="*/ 39 w 106"/>
              <a:gd name="T53" fmla="*/ 83 h 105"/>
              <a:gd name="T54" fmla="*/ 28 w 106"/>
              <a:gd name="T55" fmla="*/ 99 h 105"/>
              <a:gd name="T56" fmla="*/ 53 w 106"/>
              <a:gd name="T57" fmla="*/ 105 h 105"/>
              <a:gd name="T58" fmla="*/ 78 w 106"/>
              <a:gd name="T59" fmla="*/ 99 h 105"/>
              <a:gd name="T60" fmla="*/ 67 w 106"/>
              <a:gd name="T61" fmla="*/ 83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6" h="105">
                <a:moveTo>
                  <a:pt x="20" y="53"/>
                </a:moveTo>
                <a:cubicBezTo>
                  <a:pt x="20" y="51"/>
                  <a:pt x="20" y="50"/>
                  <a:pt x="20" y="49"/>
                </a:cubicBezTo>
                <a:cubicBezTo>
                  <a:pt x="1" y="43"/>
                  <a:pt x="1" y="43"/>
                  <a:pt x="1" y="43"/>
                </a:cubicBezTo>
                <a:cubicBezTo>
                  <a:pt x="1" y="46"/>
                  <a:pt x="0" y="49"/>
                  <a:pt x="0" y="53"/>
                </a:cubicBezTo>
                <a:cubicBezTo>
                  <a:pt x="0" y="68"/>
                  <a:pt x="7" y="81"/>
                  <a:pt x="17" y="91"/>
                </a:cubicBezTo>
                <a:cubicBezTo>
                  <a:pt x="29" y="75"/>
                  <a:pt x="29" y="75"/>
                  <a:pt x="29" y="75"/>
                </a:cubicBezTo>
                <a:cubicBezTo>
                  <a:pt x="23" y="69"/>
                  <a:pt x="20" y="61"/>
                  <a:pt x="20" y="53"/>
                </a:cubicBezTo>
                <a:close/>
                <a:moveTo>
                  <a:pt x="86" y="53"/>
                </a:moveTo>
                <a:cubicBezTo>
                  <a:pt x="86" y="61"/>
                  <a:pt x="83" y="69"/>
                  <a:pt x="77" y="75"/>
                </a:cubicBezTo>
                <a:cubicBezTo>
                  <a:pt x="89" y="91"/>
                  <a:pt x="89" y="91"/>
                  <a:pt x="89" y="91"/>
                </a:cubicBezTo>
                <a:cubicBezTo>
                  <a:pt x="99" y="81"/>
                  <a:pt x="106" y="68"/>
                  <a:pt x="106" y="53"/>
                </a:cubicBezTo>
                <a:cubicBezTo>
                  <a:pt x="106" y="49"/>
                  <a:pt x="105" y="46"/>
                  <a:pt x="105" y="43"/>
                </a:cubicBezTo>
                <a:cubicBezTo>
                  <a:pt x="86" y="49"/>
                  <a:pt x="86" y="49"/>
                  <a:pt x="86" y="49"/>
                </a:cubicBezTo>
                <a:cubicBezTo>
                  <a:pt x="86" y="50"/>
                  <a:pt x="86" y="51"/>
                  <a:pt x="86" y="53"/>
                </a:cubicBezTo>
                <a:close/>
                <a:moveTo>
                  <a:pt x="59" y="20"/>
                </a:moveTo>
                <a:cubicBezTo>
                  <a:pt x="69" y="22"/>
                  <a:pt x="77" y="28"/>
                  <a:pt x="82" y="36"/>
                </a:cubicBezTo>
                <a:cubicBezTo>
                  <a:pt x="101" y="30"/>
                  <a:pt x="101" y="30"/>
                  <a:pt x="101" y="30"/>
                </a:cubicBezTo>
                <a:cubicBezTo>
                  <a:pt x="93" y="14"/>
                  <a:pt x="78" y="3"/>
                  <a:pt x="59" y="0"/>
                </a:cubicBezTo>
                <a:lnTo>
                  <a:pt x="59" y="20"/>
                </a:lnTo>
                <a:close/>
                <a:moveTo>
                  <a:pt x="24" y="36"/>
                </a:moveTo>
                <a:cubicBezTo>
                  <a:pt x="29" y="28"/>
                  <a:pt x="37" y="22"/>
                  <a:pt x="46" y="20"/>
                </a:cubicBezTo>
                <a:cubicBezTo>
                  <a:pt x="46" y="0"/>
                  <a:pt x="46" y="0"/>
                  <a:pt x="46" y="0"/>
                </a:cubicBezTo>
                <a:cubicBezTo>
                  <a:pt x="28" y="3"/>
                  <a:pt x="13" y="14"/>
                  <a:pt x="5" y="30"/>
                </a:cubicBezTo>
                <a:lnTo>
                  <a:pt x="24" y="36"/>
                </a:lnTo>
                <a:close/>
                <a:moveTo>
                  <a:pt x="67" y="83"/>
                </a:moveTo>
                <a:cubicBezTo>
                  <a:pt x="62" y="84"/>
                  <a:pt x="58" y="85"/>
                  <a:pt x="53" y="85"/>
                </a:cubicBezTo>
                <a:cubicBezTo>
                  <a:pt x="48" y="85"/>
                  <a:pt x="43" y="84"/>
                  <a:pt x="39" y="83"/>
                </a:cubicBezTo>
                <a:cubicBezTo>
                  <a:pt x="28" y="99"/>
                  <a:pt x="28" y="99"/>
                  <a:pt x="28" y="99"/>
                </a:cubicBezTo>
                <a:cubicBezTo>
                  <a:pt x="35" y="103"/>
                  <a:pt x="44" y="105"/>
                  <a:pt x="53" y="105"/>
                </a:cubicBezTo>
                <a:cubicBezTo>
                  <a:pt x="62" y="105"/>
                  <a:pt x="71" y="103"/>
                  <a:pt x="78" y="99"/>
                </a:cubicBezTo>
                <a:lnTo>
                  <a:pt x="67" y="8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id-ID" dirty="0"/>
          </a:p>
        </p:txBody>
      </p:sp>
      <p:graphicFrame>
        <p:nvGraphicFramePr>
          <p:cNvPr id="19" name="表格 18"/>
          <p:cNvGraphicFramePr/>
          <p:nvPr/>
        </p:nvGraphicFramePr>
        <p:xfrm>
          <a:off x="7379335" y="1961515"/>
          <a:ext cx="3105150" cy="13208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85800"/>
                <a:gridCol w="685800"/>
                <a:gridCol w="1047750"/>
                <a:gridCol w="685800"/>
              </a:tblGrid>
              <a:tr h="2159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模型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样本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模型效果排序（mse）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weight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413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1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18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2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2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2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24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1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5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3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12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3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15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4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96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5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05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5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35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4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1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</a:tbl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三：融合模型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比赛王道之选</a:t>
            </a:r>
            <a:endParaRPr lang="zh-CN" altLang="en-US" sz="2800" b="1" smtClean="0">
              <a:solidFill>
                <a:srgbClr val="F05A23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dirty="0" smtClean="0"/>
              <a:t>模型融合常用方法</a:t>
            </a:r>
            <a:endParaRPr lang="zh-CN" altLang="en-US" dirty="0" smtClean="0"/>
          </a:p>
        </p:txBody>
      </p:sp>
      <p:sp>
        <p:nvSpPr>
          <p:cNvPr id="7" name="文本框 6"/>
          <p:cNvSpPr txBox="1"/>
          <p:nvPr/>
        </p:nvSpPr>
        <p:spPr>
          <a:xfrm>
            <a:off x="1339215" y="1546860"/>
            <a:ext cx="2453640" cy="35496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>
              <a:buFont typeface="Arial" panose="020B0604020202020204" pitchFamily="34" charset="0"/>
              <a:buNone/>
            </a:pPr>
            <a:r>
              <a:rPr lang="en-US" sz="1600" dirty="0" smtClean="0"/>
              <a:t>stacking</a:t>
            </a:r>
            <a:endParaRPr lang="en-US" sz="1600" dirty="0" smtClean="0"/>
          </a:p>
        </p:txBody>
      </p:sp>
      <p:sp>
        <p:nvSpPr>
          <p:cNvPr id="28" name="sync-symbol_73424"/>
          <p:cNvSpPr>
            <a:spLocks noChangeAspect="1"/>
          </p:cNvSpPr>
          <p:nvPr/>
        </p:nvSpPr>
        <p:spPr bwMode="auto">
          <a:xfrm>
            <a:off x="1052830" y="1537335"/>
            <a:ext cx="316230" cy="382270"/>
          </a:xfrm>
          <a:custGeom>
            <a:avLst/>
            <a:gdLst>
              <a:gd name="connsiteX0" fmla="*/ 404210 w 503090"/>
              <a:gd name="connsiteY0" fmla="*/ 172161 h 607710"/>
              <a:gd name="connsiteX1" fmla="*/ 398125 w 503090"/>
              <a:gd name="connsiteY1" fmla="*/ 175935 h 607710"/>
              <a:gd name="connsiteX2" fmla="*/ 401997 w 503090"/>
              <a:gd name="connsiteY2" fmla="*/ 182010 h 607710"/>
              <a:gd name="connsiteX3" fmla="*/ 444964 w 503090"/>
              <a:gd name="connsiteY3" fmla="*/ 191675 h 607710"/>
              <a:gd name="connsiteX4" fmla="*/ 446070 w 503090"/>
              <a:gd name="connsiteY4" fmla="*/ 191767 h 607710"/>
              <a:gd name="connsiteX5" fmla="*/ 451049 w 503090"/>
              <a:gd name="connsiteY5" fmla="*/ 187809 h 607710"/>
              <a:gd name="connsiteX6" fmla="*/ 447177 w 503090"/>
              <a:gd name="connsiteY6" fmla="*/ 181734 h 607710"/>
              <a:gd name="connsiteX7" fmla="*/ 394252 w 503090"/>
              <a:gd name="connsiteY7" fmla="*/ 138289 h 607710"/>
              <a:gd name="connsiteX8" fmla="*/ 388167 w 503090"/>
              <a:gd name="connsiteY8" fmla="*/ 142155 h 607710"/>
              <a:gd name="connsiteX9" fmla="*/ 392039 w 503090"/>
              <a:gd name="connsiteY9" fmla="*/ 148137 h 607710"/>
              <a:gd name="connsiteX10" fmla="*/ 468475 w 503090"/>
              <a:gd name="connsiteY10" fmla="*/ 165350 h 607710"/>
              <a:gd name="connsiteX11" fmla="*/ 469582 w 503090"/>
              <a:gd name="connsiteY11" fmla="*/ 165442 h 607710"/>
              <a:gd name="connsiteX12" fmla="*/ 474561 w 503090"/>
              <a:gd name="connsiteY12" fmla="*/ 161484 h 607710"/>
              <a:gd name="connsiteX13" fmla="*/ 470688 w 503090"/>
              <a:gd name="connsiteY13" fmla="*/ 155409 h 607710"/>
              <a:gd name="connsiteX14" fmla="*/ 388997 w 503090"/>
              <a:gd name="connsiteY14" fmla="*/ 97697 h 607710"/>
              <a:gd name="connsiteX15" fmla="*/ 410296 w 503090"/>
              <a:gd name="connsiteY15" fmla="*/ 102483 h 607710"/>
              <a:gd name="connsiteX16" fmla="*/ 409281 w 503090"/>
              <a:gd name="connsiteY16" fmla="*/ 107086 h 607710"/>
              <a:gd name="connsiteX17" fmla="*/ 419700 w 503090"/>
              <a:gd name="connsiteY17" fmla="*/ 123654 h 607710"/>
              <a:gd name="connsiteX18" fmla="*/ 452616 w 503090"/>
              <a:gd name="connsiteY18" fmla="*/ 131017 h 607710"/>
              <a:gd name="connsiteX19" fmla="*/ 470411 w 503090"/>
              <a:gd name="connsiteY19" fmla="*/ 120708 h 607710"/>
              <a:gd name="connsiteX20" fmla="*/ 471426 w 503090"/>
              <a:gd name="connsiteY20" fmla="*/ 116106 h 607710"/>
              <a:gd name="connsiteX21" fmla="*/ 492817 w 503090"/>
              <a:gd name="connsiteY21" fmla="*/ 120892 h 607710"/>
              <a:gd name="connsiteX22" fmla="*/ 501115 w 503090"/>
              <a:gd name="connsiteY22" fmla="*/ 126691 h 607710"/>
              <a:gd name="connsiteX23" fmla="*/ 502774 w 503090"/>
              <a:gd name="connsiteY23" fmla="*/ 136632 h 607710"/>
              <a:gd name="connsiteX24" fmla="*/ 469213 w 503090"/>
              <a:gd name="connsiteY24" fmla="*/ 285929 h 607710"/>
              <a:gd name="connsiteX25" fmla="*/ 453446 w 503090"/>
              <a:gd name="connsiteY25" fmla="*/ 295869 h 607710"/>
              <a:gd name="connsiteX26" fmla="*/ 411494 w 503090"/>
              <a:gd name="connsiteY26" fmla="*/ 286481 h 607710"/>
              <a:gd name="connsiteX27" fmla="*/ 428736 w 503090"/>
              <a:gd name="connsiteY27" fmla="*/ 219104 h 607710"/>
              <a:gd name="connsiteX28" fmla="*/ 359584 w 503090"/>
              <a:gd name="connsiteY28" fmla="*/ 199498 h 607710"/>
              <a:gd name="connsiteX29" fmla="*/ 351655 w 503090"/>
              <a:gd name="connsiteY29" fmla="*/ 203917 h 607710"/>
              <a:gd name="connsiteX30" fmla="*/ 373322 w 503090"/>
              <a:gd name="connsiteY30" fmla="*/ 107546 h 607710"/>
              <a:gd name="connsiteX31" fmla="*/ 388997 w 503090"/>
              <a:gd name="connsiteY31" fmla="*/ 97697 h 607710"/>
              <a:gd name="connsiteX32" fmla="*/ 427054 w 503090"/>
              <a:gd name="connsiteY32" fmla="*/ 87148 h 607710"/>
              <a:gd name="connsiteX33" fmla="*/ 427884 w 503090"/>
              <a:gd name="connsiteY33" fmla="*/ 87240 h 607710"/>
              <a:gd name="connsiteX34" fmla="*/ 461971 w 503090"/>
              <a:gd name="connsiteY34" fmla="*/ 94892 h 607710"/>
              <a:gd name="connsiteX35" fmla="*/ 464827 w 503090"/>
              <a:gd name="connsiteY35" fmla="*/ 99317 h 607710"/>
              <a:gd name="connsiteX36" fmla="*/ 460404 w 503090"/>
              <a:gd name="connsiteY36" fmla="*/ 118585 h 607710"/>
              <a:gd name="connsiteX37" fmla="*/ 458838 w 503090"/>
              <a:gd name="connsiteY37" fmla="*/ 120890 h 607710"/>
              <a:gd name="connsiteX38" fmla="*/ 456904 w 503090"/>
              <a:gd name="connsiteY38" fmla="*/ 121443 h 607710"/>
              <a:gd name="connsiteX39" fmla="*/ 456074 w 503090"/>
              <a:gd name="connsiteY39" fmla="*/ 121351 h 607710"/>
              <a:gd name="connsiteX40" fmla="*/ 421895 w 503090"/>
              <a:gd name="connsiteY40" fmla="*/ 113699 h 607710"/>
              <a:gd name="connsiteX41" fmla="*/ 419132 w 503090"/>
              <a:gd name="connsiteY41" fmla="*/ 109274 h 607710"/>
              <a:gd name="connsiteX42" fmla="*/ 423462 w 503090"/>
              <a:gd name="connsiteY42" fmla="*/ 90098 h 607710"/>
              <a:gd name="connsiteX43" fmla="*/ 427054 w 503090"/>
              <a:gd name="connsiteY43" fmla="*/ 87148 h 607710"/>
              <a:gd name="connsiteX44" fmla="*/ 39020 w 503090"/>
              <a:gd name="connsiteY44" fmla="*/ 50484 h 607710"/>
              <a:gd name="connsiteX45" fmla="*/ 57224 w 503090"/>
              <a:gd name="connsiteY45" fmla="*/ 65108 h 607710"/>
              <a:gd name="connsiteX46" fmla="*/ 88655 w 503090"/>
              <a:gd name="connsiteY46" fmla="*/ 122267 h 607710"/>
              <a:gd name="connsiteX47" fmla="*/ 161103 w 503090"/>
              <a:gd name="connsiteY47" fmla="*/ 155404 h 607710"/>
              <a:gd name="connsiteX48" fmla="*/ 253736 w 503090"/>
              <a:gd name="connsiteY48" fmla="*/ 155404 h 607710"/>
              <a:gd name="connsiteX49" fmla="*/ 296136 w 503090"/>
              <a:gd name="connsiteY49" fmla="*/ 177678 h 607710"/>
              <a:gd name="connsiteX50" fmla="*/ 336138 w 503090"/>
              <a:gd name="connsiteY50" fmla="*/ 235850 h 607710"/>
              <a:gd name="connsiteX51" fmla="*/ 369413 w 503090"/>
              <a:gd name="connsiteY51" fmla="*/ 217257 h 607710"/>
              <a:gd name="connsiteX52" fmla="*/ 410890 w 503090"/>
              <a:gd name="connsiteY52" fmla="*/ 228947 h 607710"/>
              <a:gd name="connsiteX53" fmla="*/ 399184 w 503090"/>
              <a:gd name="connsiteY53" fmla="*/ 270367 h 607710"/>
              <a:gd name="connsiteX54" fmla="*/ 341577 w 503090"/>
              <a:gd name="connsiteY54" fmla="*/ 302491 h 607710"/>
              <a:gd name="connsiteX55" fmla="*/ 326737 w 503090"/>
              <a:gd name="connsiteY55" fmla="*/ 306356 h 607710"/>
              <a:gd name="connsiteX56" fmla="*/ 301574 w 503090"/>
              <a:gd name="connsiteY56" fmla="*/ 293194 h 607710"/>
              <a:gd name="connsiteX57" fmla="*/ 283416 w 503090"/>
              <a:gd name="connsiteY57" fmla="*/ 266777 h 607710"/>
              <a:gd name="connsiteX58" fmla="*/ 283416 w 503090"/>
              <a:gd name="connsiteY58" fmla="*/ 576875 h 607710"/>
              <a:gd name="connsiteX59" fmla="*/ 252630 w 503090"/>
              <a:gd name="connsiteY59" fmla="*/ 607710 h 607710"/>
              <a:gd name="connsiteX60" fmla="*/ 221752 w 503090"/>
              <a:gd name="connsiteY60" fmla="*/ 576875 h 607710"/>
              <a:gd name="connsiteX61" fmla="*/ 221752 w 503090"/>
              <a:gd name="connsiteY61" fmla="*/ 392786 h 607710"/>
              <a:gd name="connsiteX62" fmla="*/ 197419 w 503090"/>
              <a:gd name="connsiteY62" fmla="*/ 392786 h 607710"/>
              <a:gd name="connsiteX63" fmla="*/ 197419 w 503090"/>
              <a:gd name="connsiteY63" fmla="*/ 576875 h 607710"/>
              <a:gd name="connsiteX64" fmla="*/ 166541 w 503090"/>
              <a:gd name="connsiteY64" fmla="*/ 607710 h 607710"/>
              <a:gd name="connsiteX65" fmla="*/ 135663 w 503090"/>
              <a:gd name="connsiteY65" fmla="*/ 576875 h 607710"/>
              <a:gd name="connsiteX66" fmla="*/ 135663 w 503090"/>
              <a:gd name="connsiteY66" fmla="*/ 210722 h 607710"/>
              <a:gd name="connsiteX67" fmla="*/ 53998 w 503090"/>
              <a:gd name="connsiteY67" fmla="*/ 173352 h 607710"/>
              <a:gd name="connsiteX68" fmla="*/ 39988 w 503090"/>
              <a:gd name="connsiteY68" fmla="*/ 160374 h 607710"/>
              <a:gd name="connsiteX69" fmla="*/ 3764 w 503090"/>
              <a:gd name="connsiteY69" fmla="*/ 94378 h 607710"/>
              <a:gd name="connsiteX70" fmla="*/ 15839 w 503090"/>
              <a:gd name="connsiteY70" fmla="*/ 53050 h 607710"/>
              <a:gd name="connsiteX71" fmla="*/ 39020 w 503090"/>
              <a:gd name="connsiteY71" fmla="*/ 50484 h 607710"/>
              <a:gd name="connsiteX72" fmla="*/ 209572 w 503090"/>
              <a:gd name="connsiteY72" fmla="*/ 0 h 607710"/>
              <a:gd name="connsiteX73" fmla="*/ 276715 w 503090"/>
              <a:gd name="connsiteY73" fmla="*/ 67073 h 607710"/>
              <a:gd name="connsiteX74" fmla="*/ 209572 w 503090"/>
              <a:gd name="connsiteY74" fmla="*/ 134146 h 607710"/>
              <a:gd name="connsiteX75" fmla="*/ 142429 w 503090"/>
              <a:gd name="connsiteY75" fmla="*/ 67073 h 607710"/>
              <a:gd name="connsiteX76" fmla="*/ 209572 w 503090"/>
              <a:gd name="connsiteY76" fmla="*/ 0 h 60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03090" h="607710">
                <a:moveTo>
                  <a:pt x="404210" y="172161"/>
                </a:moveTo>
                <a:cubicBezTo>
                  <a:pt x="401352" y="171517"/>
                  <a:pt x="398770" y="173266"/>
                  <a:pt x="398125" y="175935"/>
                </a:cubicBezTo>
                <a:cubicBezTo>
                  <a:pt x="397479" y="178696"/>
                  <a:pt x="399231" y="181458"/>
                  <a:pt x="401997" y="182010"/>
                </a:cubicBezTo>
                <a:lnTo>
                  <a:pt x="444964" y="191675"/>
                </a:lnTo>
                <a:cubicBezTo>
                  <a:pt x="445332" y="191767"/>
                  <a:pt x="445701" y="191767"/>
                  <a:pt x="446070" y="191767"/>
                </a:cubicBezTo>
                <a:cubicBezTo>
                  <a:pt x="448375" y="191767"/>
                  <a:pt x="450496" y="190202"/>
                  <a:pt x="451049" y="187809"/>
                </a:cubicBezTo>
                <a:cubicBezTo>
                  <a:pt x="451602" y="185139"/>
                  <a:pt x="449943" y="182378"/>
                  <a:pt x="447177" y="181734"/>
                </a:cubicBezTo>
                <a:close/>
                <a:moveTo>
                  <a:pt x="394252" y="138289"/>
                </a:moveTo>
                <a:cubicBezTo>
                  <a:pt x="391394" y="137644"/>
                  <a:pt x="388812" y="139393"/>
                  <a:pt x="388167" y="142155"/>
                </a:cubicBezTo>
                <a:cubicBezTo>
                  <a:pt x="387522" y="144824"/>
                  <a:pt x="389273" y="147585"/>
                  <a:pt x="392039" y="148137"/>
                </a:cubicBezTo>
                <a:lnTo>
                  <a:pt x="468475" y="165350"/>
                </a:lnTo>
                <a:cubicBezTo>
                  <a:pt x="468844" y="165442"/>
                  <a:pt x="469213" y="165442"/>
                  <a:pt x="469582" y="165442"/>
                </a:cubicBezTo>
                <a:cubicBezTo>
                  <a:pt x="471887" y="165442"/>
                  <a:pt x="474007" y="163877"/>
                  <a:pt x="474561" y="161484"/>
                </a:cubicBezTo>
                <a:cubicBezTo>
                  <a:pt x="475114" y="158723"/>
                  <a:pt x="473454" y="156053"/>
                  <a:pt x="470688" y="155409"/>
                </a:cubicBezTo>
                <a:close/>
                <a:moveTo>
                  <a:pt x="388997" y="97697"/>
                </a:moveTo>
                <a:lnTo>
                  <a:pt x="410296" y="102483"/>
                </a:lnTo>
                <a:lnTo>
                  <a:pt x="409281" y="107086"/>
                </a:lnTo>
                <a:cubicBezTo>
                  <a:pt x="407622" y="114541"/>
                  <a:pt x="412324" y="121905"/>
                  <a:pt x="419700" y="123654"/>
                </a:cubicBezTo>
                <a:cubicBezTo>
                  <a:pt x="419700" y="123654"/>
                  <a:pt x="443120" y="129084"/>
                  <a:pt x="452616" y="131017"/>
                </a:cubicBezTo>
                <a:cubicBezTo>
                  <a:pt x="465433" y="133594"/>
                  <a:pt x="469674" y="124298"/>
                  <a:pt x="470411" y="120708"/>
                </a:cubicBezTo>
                <a:lnTo>
                  <a:pt x="471426" y="116106"/>
                </a:lnTo>
                <a:lnTo>
                  <a:pt x="492817" y="120892"/>
                </a:lnTo>
                <a:cubicBezTo>
                  <a:pt x="496228" y="121721"/>
                  <a:pt x="499179" y="123746"/>
                  <a:pt x="501115" y="126691"/>
                </a:cubicBezTo>
                <a:cubicBezTo>
                  <a:pt x="502959" y="129636"/>
                  <a:pt x="503512" y="133226"/>
                  <a:pt x="502774" y="136632"/>
                </a:cubicBezTo>
                <a:lnTo>
                  <a:pt x="469213" y="285929"/>
                </a:lnTo>
                <a:cubicBezTo>
                  <a:pt x="467553" y="293016"/>
                  <a:pt x="460546" y="297434"/>
                  <a:pt x="453446" y="295869"/>
                </a:cubicBezTo>
                <a:lnTo>
                  <a:pt x="411494" y="286481"/>
                </a:lnTo>
                <a:cubicBezTo>
                  <a:pt x="434084" y="272122"/>
                  <a:pt x="441921" y="242667"/>
                  <a:pt x="428736" y="219104"/>
                </a:cubicBezTo>
                <a:cubicBezTo>
                  <a:pt x="414998" y="194620"/>
                  <a:pt x="384018" y="185876"/>
                  <a:pt x="359584" y="199498"/>
                </a:cubicBezTo>
                <a:lnTo>
                  <a:pt x="351655" y="203917"/>
                </a:lnTo>
                <a:lnTo>
                  <a:pt x="373322" y="107546"/>
                </a:lnTo>
                <a:cubicBezTo>
                  <a:pt x="374890" y="100550"/>
                  <a:pt x="381897" y="96040"/>
                  <a:pt x="388997" y="97697"/>
                </a:cubicBezTo>
                <a:close/>
                <a:moveTo>
                  <a:pt x="427054" y="87148"/>
                </a:moveTo>
                <a:cubicBezTo>
                  <a:pt x="427331" y="87148"/>
                  <a:pt x="427607" y="87240"/>
                  <a:pt x="427884" y="87240"/>
                </a:cubicBezTo>
                <a:lnTo>
                  <a:pt x="461971" y="94892"/>
                </a:lnTo>
                <a:cubicBezTo>
                  <a:pt x="463997" y="95353"/>
                  <a:pt x="465195" y="97381"/>
                  <a:pt x="464827" y="99317"/>
                </a:cubicBezTo>
                <a:lnTo>
                  <a:pt x="460404" y="118585"/>
                </a:lnTo>
                <a:cubicBezTo>
                  <a:pt x="460220" y="119599"/>
                  <a:pt x="459667" y="120429"/>
                  <a:pt x="458838" y="120890"/>
                </a:cubicBezTo>
                <a:cubicBezTo>
                  <a:pt x="458286" y="121259"/>
                  <a:pt x="457549" y="121443"/>
                  <a:pt x="456904" y="121443"/>
                </a:cubicBezTo>
                <a:cubicBezTo>
                  <a:pt x="456627" y="121443"/>
                  <a:pt x="456351" y="121443"/>
                  <a:pt x="456074" y="121351"/>
                </a:cubicBezTo>
                <a:lnTo>
                  <a:pt x="421895" y="113699"/>
                </a:lnTo>
                <a:cubicBezTo>
                  <a:pt x="419961" y="113238"/>
                  <a:pt x="418763" y="111302"/>
                  <a:pt x="419132" y="109274"/>
                </a:cubicBezTo>
                <a:lnTo>
                  <a:pt x="423462" y="90098"/>
                </a:lnTo>
                <a:cubicBezTo>
                  <a:pt x="423922" y="88347"/>
                  <a:pt x="425396" y="87148"/>
                  <a:pt x="427054" y="87148"/>
                </a:cubicBezTo>
                <a:close/>
                <a:moveTo>
                  <a:pt x="39020" y="50484"/>
                </a:moveTo>
                <a:cubicBezTo>
                  <a:pt x="46509" y="52659"/>
                  <a:pt x="53169" y="57698"/>
                  <a:pt x="57224" y="65108"/>
                </a:cubicBezTo>
                <a:lnTo>
                  <a:pt x="88655" y="122267"/>
                </a:lnTo>
                <a:lnTo>
                  <a:pt x="161103" y="155404"/>
                </a:lnTo>
                <a:lnTo>
                  <a:pt x="253736" y="155404"/>
                </a:lnTo>
                <a:cubicBezTo>
                  <a:pt x="270696" y="155404"/>
                  <a:pt x="286550" y="163688"/>
                  <a:pt x="296136" y="177678"/>
                </a:cubicBezTo>
                <a:lnTo>
                  <a:pt x="336138" y="235850"/>
                </a:lnTo>
                <a:lnTo>
                  <a:pt x="369413" y="217257"/>
                </a:lnTo>
                <a:cubicBezTo>
                  <a:pt x="384160" y="209065"/>
                  <a:pt x="402687" y="214312"/>
                  <a:pt x="410890" y="228947"/>
                </a:cubicBezTo>
                <a:cubicBezTo>
                  <a:pt x="419186" y="243674"/>
                  <a:pt x="413840" y="262175"/>
                  <a:pt x="399184" y="270367"/>
                </a:cubicBezTo>
                <a:lnTo>
                  <a:pt x="341577" y="302491"/>
                </a:lnTo>
                <a:cubicBezTo>
                  <a:pt x="336876" y="305160"/>
                  <a:pt x="331806" y="306356"/>
                  <a:pt x="326737" y="306356"/>
                </a:cubicBezTo>
                <a:cubicBezTo>
                  <a:pt x="316967" y="306356"/>
                  <a:pt x="307473" y="301754"/>
                  <a:pt x="301574" y="293194"/>
                </a:cubicBezTo>
                <a:lnTo>
                  <a:pt x="283416" y="266777"/>
                </a:lnTo>
                <a:lnTo>
                  <a:pt x="283416" y="576875"/>
                </a:lnTo>
                <a:cubicBezTo>
                  <a:pt x="283416" y="593903"/>
                  <a:pt x="269590" y="607710"/>
                  <a:pt x="252630" y="607710"/>
                </a:cubicBezTo>
                <a:cubicBezTo>
                  <a:pt x="235578" y="607710"/>
                  <a:pt x="221752" y="593903"/>
                  <a:pt x="221752" y="576875"/>
                </a:cubicBezTo>
                <a:lnTo>
                  <a:pt x="221752" y="392786"/>
                </a:lnTo>
                <a:lnTo>
                  <a:pt x="197419" y="392786"/>
                </a:lnTo>
                <a:lnTo>
                  <a:pt x="197419" y="576875"/>
                </a:lnTo>
                <a:cubicBezTo>
                  <a:pt x="197419" y="593903"/>
                  <a:pt x="183593" y="607710"/>
                  <a:pt x="166541" y="607710"/>
                </a:cubicBezTo>
                <a:cubicBezTo>
                  <a:pt x="149489" y="607710"/>
                  <a:pt x="135663" y="593903"/>
                  <a:pt x="135663" y="576875"/>
                </a:cubicBezTo>
                <a:lnTo>
                  <a:pt x="135663" y="210722"/>
                </a:lnTo>
                <a:lnTo>
                  <a:pt x="53998" y="173352"/>
                </a:lnTo>
                <a:cubicBezTo>
                  <a:pt x="48099" y="170683"/>
                  <a:pt x="43122" y="166081"/>
                  <a:pt x="39988" y="160374"/>
                </a:cubicBezTo>
                <a:lnTo>
                  <a:pt x="3764" y="94378"/>
                </a:lnTo>
                <a:cubicBezTo>
                  <a:pt x="-4347" y="79651"/>
                  <a:pt x="1091" y="61150"/>
                  <a:pt x="15839" y="53050"/>
                </a:cubicBezTo>
                <a:cubicBezTo>
                  <a:pt x="23213" y="49000"/>
                  <a:pt x="31531" y="48310"/>
                  <a:pt x="39020" y="50484"/>
                </a:cubicBezTo>
                <a:close/>
                <a:moveTo>
                  <a:pt x="209572" y="0"/>
                </a:moveTo>
                <a:cubicBezTo>
                  <a:pt x="246654" y="0"/>
                  <a:pt x="276715" y="30030"/>
                  <a:pt x="276715" y="67073"/>
                </a:cubicBezTo>
                <a:cubicBezTo>
                  <a:pt x="276715" y="104116"/>
                  <a:pt x="246654" y="134146"/>
                  <a:pt x="209572" y="134146"/>
                </a:cubicBezTo>
                <a:cubicBezTo>
                  <a:pt x="172490" y="134146"/>
                  <a:pt x="142429" y="104116"/>
                  <a:pt x="142429" y="67073"/>
                </a:cubicBezTo>
                <a:cubicBezTo>
                  <a:pt x="142429" y="30030"/>
                  <a:pt x="172490" y="0"/>
                  <a:pt x="2095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pic>
        <p:nvPicPr>
          <p:cNvPr id="6" name="图片 5" descr="a88d6fee4b986935a44bcffa5554723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710305" y="1854200"/>
            <a:ext cx="4791075" cy="4829175"/>
          </a:xfrm>
          <a:prstGeom prst="rect">
            <a:avLst/>
          </a:prstGeom>
        </p:spPr>
      </p:pic>
      <p:sp>
        <p:nvSpPr>
          <p:cNvPr id="257" name="Freeform 131"/>
          <p:cNvSpPr>
            <a:spLocks noEditPoints="1"/>
          </p:cNvSpPr>
          <p:nvPr/>
        </p:nvSpPr>
        <p:spPr bwMode="auto">
          <a:xfrm>
            <a:off x="520700" y="1099820"/>
            <a:ext cx="417830" cy="415290"/>
          </a:xfrm>
          <a:custGeom>
            <a:avLst/>
            <a:gdLst>
              <a:gd name="T0" fmla="*/ 20 w 106"/>
              <a:gd name="T1" fmla="*/ 53 h 105"/>
              <a:gd name="T2" fmla="*/ 20 w 106"/>
              <a:gd name="T3" fmla="*/ 49 h 105"/>
              <a:gd name="T4" fmla="*/ 1 w 106"/>
              <a:gd name="T5" fmla="*/ 43 h 105"/>
              <a:gd name="T6" fmla="*/ 0 w 106"/>
              <a:gd name="T7" fmla="*/ 53 h 105"/>
              <a:gd name="T8" fmla="*/ 17 w 106"/>
              <a:gd name="T9" fmla="*/ 91 h 105"/>
              <a:gd name="T10" fmla="*/ 29 w 106"/>
              <a:gd name="T11" fmla="*/ 75 h 105"/>
              <a:gd name="T12" fmla="*/ 20 w 106"/>
              <a:gd name="T13" fmla="*/ 53 h 105"/>
              <a:gd name="T14" fmla="*/ 86 w 106"/>
              <a:gd name="T15" fmla="*/ 53 h 105"/>
              <a:gd name="T16" fmla="*/ 77 w 106"/>
              <a:gd name="T17" fmla="*/ 75 h 105"/>
              <a:gd name="T18" fmla="*/ 89 w 106"/>
              <a:gd name="T19" fmla="*/ 91 h 105"/>
              <a:gd name="T20" fmla="*/ 106 w 106"/>
              <a:gd name="T21" fmla="*/ 53 h 105"/>
              <a:gd name="T22" fmla="*/ 105 w 106"/>
              <a:gd name="T23" fmla="*/ 43 h 105"/>
              <a:gd name="T24" fmla="*/ 86 w 106"/>
              <a:gd name="T25" fmla="*/ 49 h 105"/>
              <a:gd name="T26" fmla="*/ 86 w 106"/>
              <a:gd name="T27" fmla="*/ 53 h 105"/>
              <a:gd name="T28" fmla="*/ 59 w 106"/>
              <a:gd name="T29" fmla="*/ 20 h 105"/>
              <a:gd name="T30" fmla="*/ 82 w 106"/>
              <a:gd name="T31" fmla="*/ 36 h 105"/>
              <a:gd name="T32" fmla="*/ 101 w 106"/>
              <a:gd name="T33" fmla="*/ 30 h 105"/>
              <a:gd name="T34" fmla="*/ 59 w 106"/>
              <a:gd name="T35" fmla="*/ 0 h 105"/>
              <a:gd name="T36" fmla="*/ 59 w 106"/>
              <a:gd name="T37" fmla="*/ 20 h 105"/>
              <a:gd name="T38" fmla="*/ 24 w 106"/>
              <a:gd name="T39" fmla="*/ 36 h 105"/>
              <a:gd name="T40" fmla="*/ 46 w 106"/>
              <a:gd name="T41" fmla="*/ 20 h 105"/>
              <a:gd name="T42" fmla="*/ 46 w 106"/>
              <a:gd name="T43" fmla="*/ 0 h 105"/>
              <a:gd name="T44" fmla="*/ 5 w 106"/>
              <a:gd name="T45" fmla="*/ 30 h 105"/>
              <a:gd name="T46" fmla="*/ 24 w 106"/>
              <a:gd name="T47" fmla="*/ 36 h 105"/>
              <a:gd name="T48" fmla="*/ 67 w 106"/>
              <a:gd name="T49" fmla="*/ 83 h 105"/>
              <a:gd name="T50" fmla="*/ 53 w 106"/>
              <a:gd name="T51" fmla="*/ 85 h 105"/>
              <a:gd name="T52" fmla="*/ 39 w 106"/>
              <a:gd name="T53" fmla="*/ 83 h 105"/>
              <a:gd name="T54" fmla="*/ 28 w 106"/>
              <a:gd name="T55" fmla="*/ 99 h 105"/>
              <a:gd name="T56" fmla="*/ 53 w 106"/>
              <a:gd name="T57" fmla="*/ 105 h 105"/>
              <a:gd name="T58" fmla="*/ 78 w 106"/>
              <a:gd name="T59" fmla="*/ 99 h 105"/>
              <a:gd name="T60" fmla="*/ 67 w 106"/>
              <a:gd name="T61" fmla="*/ 83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6" h="105">
                <a:moveTo>
                  <a:pt x="20" y="53"/>
                </a:moveTo>
                <a:cubicBezTo>
                  <a:pt x="20" y="51"/>
                  <a:pt x="20" y="50"/>
                  <a:pt x="20" y="49"/>
                </a:cubicBezTo>
                <a:cubicBezTo>
                  <a:pt x="1" y="43"/>
                  <a:pt x="1" y="43"/>
                  <a:pt x="1" y="43"/>
                </a:cubicBezTo>
                <a:cubicBezTo>
                  <a:pt x="1" y="46"/>
                  <a:pt x="0" y="49"/>
                  <a:pt x="0" y="53"/>
                </a:cubicBezTo>
                <a:cubicBezTo>
                  <a:pt x="0" y="68"/>
                  <a:pt x="7" y="81"/>
                  <a:pt x="17" y="91"/>
                </a:cubicBezTo>
                <a:cubicBezTo>
                  <a:pt x="29" y="75"/>
                  <a:pt x="29" y="75"/>
                  <a:pt x="29" y="75"/>
                </a:cubicBezTo>
                <a:cubicBezTo>
                  <a:pt x="23" y="69"/>
                  <a:pt x="20" y="61"/>
                  <a:pt x="20" y="53"/>
                </a:cubicBezTo>
                <a:close/>
                <a:moveTo>
                  <a:pt x="86" y="53"/>
                </a:moveTo>
                <a:cubicBezTo>
                  <a:pt x="86" y="61"/>
                  <a:pt x="83" y="69"/>
                  <a:pt x="77" y="75"/>
                </a:cubicBezTo>
                <a:cubicBezTo>
                  <a:pt x="89" y="91"/>
                  <a:pt x="89" y="91"/>
                  <a:pt x="89" y="91"/>
                </a:cubicBezTo>
                <a:cubicBezTo>
                  <a:pt x="99" y="81"/>
                  <a:pt x="106" y="68"/>
                  <a:pt x="106" y="53"/>
                </a:cubicBezTo>
                <a:cubicBezTo>
                  <a:pt x="106" y="49"/>
                  <a:pt x="105" y="46"/>
                  <a:pt x="105" y="43"/>
                </a:cubicBezTo>
                <a:cubicBezTo>
                  <a:pt x="86" y="49"/>
                  <a:pt x="86" y="49"/>
                  <a:pt x="86" y="49"/>
                </a:cubicBezTo>
                <a:cubicBezTo>
                  <a:pt x="86" y="50"/>
                  <a:pt x="86" y="51"/>
                  <a:pt x="86" y="53"/>
                </a:cubicBezTo>
                <a:close/>
                <a:moveTo>
                  <a:pt x="59" y="20"/>
                </a:moveTo>
                <a:cubicBezTo>
                  <a:pt x="69" y="22"/>
                  <a:pt x="77" y="28"/>
                  <a:pt x="82" y="36"/>
                </a:cubicBezTo>
                <a:cubicBezTo>
                  <a:pt x="101" y="30"/>
                  <a:pt x="101" y="30"/>
                  <a:pt x="101" y="30"/>
                </a:cubicBezTo>
                <a:cubicBezTo>
                  <a:pt x="93" y="14"/>
                  <a:pt x="78" y="3"/>
                  <a:pt x="59" y="0"/>
                </a:cubicBezTo>
                <a:lnTo>
                  <a:pt x="59" y="20"/>
                </a:lnTo>
                <a:close/>
                <a:moveTo>
                  <a:pt x="24" y="36"/>
                </a:moveTo>
                <a:cubicBezTo>
                  <a:pt x="29" y="28"/>
                  <a:pt x="37" y="22"/>
                  <a:pt x="46" y="20"/>
                </a:cubicBezTo>
                <a:cubicBezTo>
                  <a:pt x="46" y="0"/>
                  <a:pt x="46" y="0"/>
                  <a:pt x="46" y="0"/>
                </a:cubicBezTo>
                <a:cubicBezTo>
                  <a:pt x="28" y="3"/>
                  <a:pt x="13" y="14"/>
                  <a:pt x="5" y="30"/>
                </a:cubicBezTo>
                <a:lnTo>
                  <a:pt x="24" y="36"/>
                </a:lnTo>
                <a:close/>
                <a:moveTo>
                  <a:pt x="67" y="83"/>
                </a:moveTo>
                <a:cubicBezTo>
                  <a:pt x="62" y="84"/>
                  <a:pt x="58" y="85"/>
                  <a:pt x="53" y="85"/>
                </a:cubicBezTo>
                <a:cubicBezTo>
                  <a:pt x="48" y="85"/>
                  <a:pt x="43" y="84"/>
                  <a:pt x="39" y="83"/>
                </a:cubicBezTo>
                <a:cubicBezTo>
                  <a:pt x="28" y="99"/>
                  <a:pt x="28" y="99"/>
                  <a:pt x="28" y="99"/>
                </a:cubicBezTo>
                <a:cubicBezTo>
                  <a:pt x="35" y="103"/>
                  <a:pt x="44" y="105"/>
                  <a:pt x="53" y="105"/>
                </a:cubicBezTo>
                <a:cubicBezTo>
                  <a:pt x="62" y="105"/>
                  <a:pt x="71" y="103"/>
                  <a:pt x="78" y="99"/>
                </a:cubicBezTo>
                <a:lnTo>
                  <a:pt x="67" y="8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id-ID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三：融合模型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比赛王道之选</a:t>
            </a:r>
            <a:endParaRPr lang="zh-CN" altLang="en-US" sz="2800" b="1" smtClean="0">
              <a:solidFill>
                <a:srgbClr val="F05A23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模型融合</a:t>
            </a:r>
            <a:r>
              <a:rPr lang="en-US" altLang="zh-CN" sz="1800" dirty="0" smtClean="0"/>
              <a:t>trick</a:t>
            </a:r>
            <a:endParaRPr lang="en-US" altLang="zh-CN" sz="1800" dirty="0" smtClean="0"/>
          </a:p>
        </p:txBody>
      </p:sp>
      <p:grpSp>
        <p:nvGrpSpPr>
          <p:cNvPr id="27" name="组合 26"/>
          <p:cNvGrpSpPr/>
          <p:nvPr/>
        </p:nvGrpSpPr>
        <p:grpSpPr>
          <a:xfrm>
            <a:off x="1873250" y="2770505"/>
            <a:ext cx="8245566" cy="3296376"/>
            <a:chOff x="5771" y="4287"/>
            <a:chExt cx="11364" cy="4543"/>
          </a:xfrm>
        </p:grpSpPr>
        <p:sp>
          <p:nvSpPr>
            <p:cNvPr id="11" name="任意多边形: 形状 7"/>
            <p:cNvSpPr/>
            <p:nvPr/>
          </p:nvSpPr>
          <p:spPr>
            <a:xfrm>
              <a:off x="5771" y="4287"/>
              <a:ext cx="3953" cy="4543"/>
            </a:xfrm>
            <a:custGeom>
              <a:avLst/>
              <a:gdLst>
                <a:gd name="connsiteX0" fmla="*/ 3603308 w 3603307"/>
                <a:gd name="connsiteY0" fmla="*/ 1062038 h 4062412"/>
                <a:gd name="connsiteX1" fmla="*/ 3603308 w 3603307"/>
                <a:gd name="connsiteY1" fmla="*/ 3000375 h 4062412"/>
                <a:gd name="connsiteX2" fmla="*/ 3424238 w 3603307"/>
                <a:gd name="connsiteY2" fmla="*/ 3289935 h 4062412"/>
                <a:gd name="connsiteX3" fmla="*/ 1946910 w 3603307"/>
                <a:gd name="connsiteY3" fmla="*/ 4028123 h 4062412"/>
                <a:gd name="connsiteX4" fmla="*/ 1657350 w 3603307"/>
                <a:gd name="connsiteY4" fmla="*/ 4028123 h 4062412"/>
                <a:gd name="connsiteX5" fmla="*/ 179070 w 3603307"/>
                <a:gd name="connsiteY5" fmla="*/ 3289935 h 4062412"/>
                <a:gd name="connsiteX6" fmla="*/ 0 w 3603307"/>
                <a:gd name="connsiteY6" fmla="*/ 3000375 h 4062412"/>
                <a:gd name="connsiteX7" fmla="*/ 0 w 3603307"/>
                <a:gd name="connsiteY7" fmla="*/ 1062038 h 4062412"/>
                <a:gd name="connsiteX8" fmla="*/ 179070 w 3603307"/>
                <a:gd name="connsiteY8" fmla="*/ 772478 h 4062412"/>
                <a:gd name="connsiteX9" fmla="*/ 1656398 w 3603307"/>
                <a:gd name="connsiteY9" fmla="*/ 34290 h 4062412"/>
                <a:gd name="connsiteX10" fmla="*/ 1945958 w 3603307"/>
                <a:gd name="connsiteY10" fmla="*/ 34290 h 4062412"/>
                <a:gd name="connsiteX11" fmla="*/ 3423285 w 3603307"/>
                <a:gd name="connsiteY11" fmla="*/ 772478 h 4062412"/>
                <a:gd name="connsiteX12" fmla="*/ 3603308 w 3603307"/>
                <a:gd name="connsiteY12" fmla="*/ 1062038 h 406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03307" h="4062412">
                  <a:moveTo>
                    <a:pt x="3603308" y="1062038"/>
                  </a:moveTo>
                  <a:lnTo>
                    <a:pt x="3603308" y="3000375"/>
                  </a:lnTo>
                  <a:cubicBezTo>
                    <a:pt x="3603308" y="3123248"/>
                    <a:pt x="3533775" y="3235643"/>
                    <a:pt x="3424238" y="3289935"/>
                  </a:cubicBezTo>
                  <a:lnTo>
                    <a:pt x="1946910" y="4028123"/>
                  </a:lnTo>
                  <a:cubicBezTo>
                    <a:pt x="1855470" y="4073843"/>
                    <a:pt x="1748790" y="4073843"/>
                    <a:pt x="1657350" y="4028123"/>
                  </a:cubicBezTo>
                  <a:lnTo>
                    <a:pt x="179070" y="3289935"/>
                  </a:lnTo>
                  <a:cubicBezTo>
                    <a:pt x="69533" y="3235643"/>
                    <a:pt x="0" y="3123248"/>
                    <a:pt x="0" y="3000375"/>
                  </a:cubicBezTo>
                  <a:lnTo>
                    <a:pt x="0" y="1062038"/>
                  </a:lnTo>
                  <a:cubicBezTo>
                    <a:pt x="0" y="939165"/>
                    <a:pt x="69533" y="826770"/>
                    <a:pt x="179070" y="772478"/>
                  </a:cubicBezTo>
                  <a:lnTo>
                    <a:pt x="1656398" y="34290"/>
                  </a:lnTo>
                  <a:cubicBezTo>
                    <a:pt x="1747838" y="-11430"/>
                    <a:pt x="1854518" y="-11430"/>
                    <a:pt x="1945958" y="34290"/>
                  </a:cubicBezTo>
                  <a:lnTo>
                    <a:pt x="3423285" y="772478"/>
                  </a:lnTo>
                  <a:cubicBezTo>
                    <a:pt x="3533775" y="827723"/>
                    <a:pt x="3603308" y="939165"/>
                    <a:pt x="3603308" y="1062038"/>
                  </a:cubicBezTo>
                  <a:close/>
                </a:path>
              </a:pathLst>
            </a:custGeom>
            <a:solidFill>
              <a:schemeClr val="accent6">
                <a:alpha val="10000"/>
              </a:schemeClr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0" rIns="0" bIns="0" numCol="1" spcCol="0" rtlCol="0" fromWordArt="0" anchor="ctr" anchorCtr="0" forceAA="0" compatLnSpc="1">
              <a:normAutofit/>
            </a:bodyPr>
            <a:lstStyle/>
            <a:p>
              <a:pPr algn="ctr" defTabSz="913765"/>
              <a:r>
                <a:rPr lang="en-US" altLang="zh-CN" sz="1600" b="1" dirty="0">
                  <a:noFill/>
                  <a:latin typeface="Arial" panose="020B0604020202020204" pitchFamily="34" charset="0"/>
                  <a:ea typeface="华文楷体" panose="02010600040101010101" pitchFamily="2" charset="-122"/>
                </a:rPr>
                <a:t>02</a:t>
              </a:r>
              <a:endParaRPr lang="zh-CN" altLang="en-US" sz="1600" b="1" dirty="0">
                <a:noFill/>
                <a:latin typeface="Arial" panose="020B0604020202020204" pitchFamily="34" charset="0"/>
                <a:ea typeface="华文楷体" panose="02010600040101010101" pitchFamily="2" charset="-122"/>
              </a:endParaRPr>
            </a:p>
          </p:txBody>
        </p:sp>
        <p:grpSp>
          <p:nvGrpSpPr>
            <p:cNvPr id="15" name="组合 14"/>
            <p:cNvGrpSpPr>
              <a:grpSpLocks noChangeAspect="1"/>
            </p:cNvGrpSpPr>
            <p:nvPr/>
          </p:nvGrpSpPr>
          <p:grpSpPr>
            <a:xfrm rot="0">
              <a:off x="7290" y="5235"/>
              <a:ext cx="860" cy="850"/>
              <a:chOff x="9072988" y="4530811"/>
              <a:chExt cx="885971" cy="876459"/>
            </a:xfrm>
          </p:grpSpPr>
          <p:sp>
            <p:nvSpPr>
              <p:cNvPr id="22" name="矩形: 圆角 21"/>
              <p:cNvSpPr/>
              <p:nvPr/>
            </p:nvSpPr>
            <p:spPr>
              <a:xfrm>
                <a:off x="9072988" y="4530811"/>
                <a:ext cx="885971" cy="876459"/>
              </a:xfrm>
              <a:prstGeom prst="roundRect">
                <a:avLst/>
              </a:prstGeom>
              <a:gradFill>
                <a:gsLst>
                  <a:gs pos="0">
                    <a:schemeClr val="accent6">
                      <a:lumMod val="60000"/>
                      <a:lumOff val="40000"/>
                    </a:schemeClr>
                  </a:gs>
                  <a:gs pos="60000">
                    <a:schemeClr val="accent6"/>
                  </a:gs>
                </a:gsLst>
                <a:lin ang="2700000" scaled="0"/>
              </a:gradFill>
              <a:ln w="57150" cap="rnd">
                <a:noFill/>
                <a:prstDash val="solid"/>
                <a:round/>
              </a:ln>
              <a:effectLst>
                <a:outerShdw blurRad="76200" dist="50800" dir="5400000" algn="ctr" rotWithShape="0">
                  <a:schemeClr val="accent6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任意多边形: 形状 22"/>
              <p:cNvSpPr/>
              <p:nvPr/>
            </p:nvSpPr>
            <p:spPr>
              <a:xfrm>
                <a:off x="9321055" y="4789069"/>
                <a:ext cx="380330" cy="346372"/>
              </a:xfrm>
              <a:custGeom>
                <a:avLst/>
                <a:gdLst>
                  <a:gd name="connsiteX0" fmla="*/ 125329 w 533400"/>
                  <a:gd name="connsiteY0" fmla="*/ 229221 h 485775"/>
                  <a:gd name="connsiteX1" fmla="*/ 125329 w 533400"/>
                  <a:gd name="connsiteY1" fmla="*/ 276846 h 485775"/>
                  <a:gd name="connsiteX2" fmla="*/ 144379 w 533400"/>
                  <a:gd name="connsiteY2" fmla="*/ 276846 h 485775"/>
                  <a:gd name="connsiteX3" fmla="*/ 144379 w 533400"/>
                  <a:gd name="connsiteY3" fmla="*/ 229221 h 485775"/>
                  <a:gd name="connsiteX4" fmla="*/ 392029 w 533400"/>
                  <a:gd name="connsiteY4" fmla="*/ 229221 h 485775"/>
                  <a:gd name="connsiteX5" fmla="*/ 392029 w 533400"/>
                  <a:gd name="connsiteY5" fmla="*/ 276846 h 485775"/>
                  <a:gd name="connsiteX6" fmla="*/ 411079 w 533400"/>
                  <a:gd name="connsiteY6" fmla="*/ 276846 h 485775"/>
                  <a:gd name="connsiteX7" fmla="*/ 411079 w 533400"/>
                  <a:gd name="connsiteY7" fmla="*/ 229221 h 485775"/>
                  <a:gd name="connsiteX8" fmla="*/ 534904 w 533400"/>
                  <a:gd name="connsiteY8" fmla="*/ 229221 h 485775"/>
                  <a:gd name="connsiteX9" fmla="*/ 534904 w 533400"/>
                  <a:gd name="connsiteY9" fmla="*/ 457821 h 485775"/>
                  <a:gd name="connsiteX10" fmla="*/ 506329 w 533400"/>
                  <a:gd name="connsiteY10" fmla="*/ 486396 h 485775"/>
                  <a:gd name="connsiteX11" fmla="*/ 30079 w 533400"/>
                  <a:gd name="connsiteY11" fmla="*/ 486396 h 485775"/>
                  <a:gd name="connsiteX12" fmla="*/ 1504 w 533400"/>
                  <a:gd name="connsiteY12" fmla="*/ 457821 h 485775"/>
                  <a:gd name="connsiteX13" fmla="*/ 1504 w 533400"/>
                  <a:gd name="connsiteY13" fmla="*/ 229221 h 485775"/>
                  <a:gd name="connsiteX14" fmla="*/ 125329 w 533400"/>
                  <a:gd name="connsiteY14" fmla="*/ 229221 h 485775"/>
                  <a:gd name="connsiteX15" fmla="*/ 372979 w 533400"/>
                  <a:gd name="connsiteY15" fmla="*/ 621 h 485775"/>
                  <a:gd name="connsiteX16" fmla="*/ 411079 w 533400"/>
                  <a:gd name="connsiteY16" fmla="*/ 36816 h 485775"/>
                  <a:gd name="connsiteX17" fmla="*/ 411079 w 533400"/>
                  <a:gd name="connsiteY17" fmla="*/ 38721 h 485775"/>
                  <a:gd name="connsiteX18" fmla="*/ 411079 w 533400"/>
                  <a:gd name="connsiteY18" fmla="*/ 114921 h 485775"/>
                  <a:gd name="connsiteX19" fmla="*/ 506329 w 533400"/>
                  <a:gd name="connsiteY19" fmla="*/ 114921 h 485775"/>
                  <a:gd name="connsiteX20" fmla="*/ 534904 w 533400"/>
                  <a:gd name="connsiteY20" fmla="*/ 143496 h 485775"/>
                  <a:gd name="connsiteX21" fmla="*/ 534904 w 533400"/>
                  <a:gd name="connsiteY21" fmla="*/ 210171 h 485775"/>
                  <a:gd name="connsiteX22" fmla="*/ 1504 w 533400"/>
                  <a:gd name="connsiteY22" fmla="*/ 210171 h 485775"/>
                  <a:gd name="connsiteX23" fmla="*/ 1504 w 533400"/>
                  <a:gd name="connsiteY23" fmla="*/ 143496 h 485775"/>
                  <a:gd name="connsiteX24" fmla="*/ 30079 w 533400"/>
                  <a:gd name="connsiteY24" fmla="*/ 114921 h 485775"/>
                  <a:gd name="connsiteX25" fmla="*/ 125329 w 533400"/>
                  <a:gd name="connsiteY25" fmla="*/ 114921 h 485775"/>
                  <a:gd name="connsiteX26" fmla="*/ 125329 w 533400"/>
                  <a:gd name="connsiteY26" fmla="*/ 38721 h 485775"/>
                  <a:gd name="connsiteX27" fmla="*/ 161524 w 533400"/>
                  <a:gd name="connsiteY27" fmla="*/ 621 h 485775"/>
                  <a:gd name="connsiteX28" fmla="*/ 163429 w 533400"/>
                  <a:gd name="connsiteY28" fmla="*/ 621 h 485775"/>
                  <a:gd name="connsiteX29" fmla="*/ 372979 w 533400"/>
                  <a:gd name="connsiteY29" fmla="*/ 621 h 485775"/>
                  <a:gd name="connsiteX30" fmla="*/ 372979 w 533400"/>
                  <a:gd name="connsiteY30" fmla="*/ 19671 h 485775"/>
                  <a:gd name="connsiteX31" fmla="*/ 163429 w 533400"/>
                  <a:gd name="connsiteY31" fmla="*/ 19671 h 485775"/>
                  <a:gd name="connsiteX32" fmla="*/ 144474 w 533400"/>
                  <a:gd name="connsiteY32" fmla="*/ 37292 h 485775"/>
                  <a:gd name="connsiteX33" fmla="*/ 144379 w 533400"/>
                  <a:gd name="connsiteY33" fmla="*/ 38721 h 485775"/>
                  <a:gd name="connsiteX34" fmla="*/ 144379 w 533400"/>
                  <a:gd name="connsiteY34" fmla="*/ 114921 h 485775"/>
                  <a:gd name="connsiteX35" fmla="*/ 392029 w 533400"/>
                  <a:gd name="connsiteY35" fmla="*/ 114921 h 485775"/>
                  <a:gd name="connsiteX36" fmla="*/ 392029 w 533400"/>
                  <a:gd name="connsiteY36" fmla="*/ 38721 h 485775"/>
                  <a:gd name="connsiteX37" fmla="*/ 375836 w 533400"/>
                  <a:gd name="connsiteY37" fmla="*/ 19862 h 485775"/>
                  <a:gd name="connsiteX38" fmla="*/ 374408 w 533400"/>
                  <a:gd name="connsiteY38" fmla="*/ 19671 h 485775"/>
                  <a:gd name="connsiteX39" fmla="*/ 372979 w 533400"/>
                  <a:gd name="connsiteY39" fmla="*/ 19671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5329" y="229221"/>
                    </a:moveTo>
                    <a:lnTo>
                      <a:pt x="125329" y="276846"/>
                    </a:lnTo>
                    <a:lnTo>
                      <a:pt x="144379" y="276846"/>
                    </a:lnTo>
                    <a:lnTo>
                      <a:pt x="144379" y="229221"/>
                    </a:lnTo>
                    <a:lnTo>
                      <a:pt x="392029" y="229221"/>
                    </a:lnTo>
                    <a:lnTo>
                      <a:pt x="392029" y="276846"/>
                    </a:lnTo>
                    <a:lnTo>
                      <a:pt x="411079" y="276846"/>
                    </a:lnTo>
                    <a:lnTo>
                      <a:pt x="411079" y="229221"/>
                    </a:lnTo>
                    <a:lnTo>
                      <a:pt x="534904" y="229221"/>
                    </a:lnTo>
                    <a:lnTo>
                      <a:pt x="534904" y="457821"/>
                    </a:lnTo>
                    <a:cubicBezTo>
                      <a:pt x="534904" y="473632"/>
                      <a:pt x="522141" y="486396"/>
                      <a:pt x="506329" y="486396"/>
                    </a:cubicBezTo>
                    <a:lnTo>
                      <a:pt x="30079" y="486396"/>
                    </a:lnTo>
                    <a:cubicBezTo>
                      <a:pt x="14267" y="486396"/>
                      <a:pt x="1504" y="473632"/>
                      <a:pt x="1504" y="457821"/>
                    </a:cubicBezTo>
                    <a:lnTo>
                      <a:pt x="1504" y="229221"/>
                    </a:lnTo>
                    <a:lnTo>
                      <a:pt x="125329" y="229221"/>
                    </a:lnTo>
                    <a:close/>
                    <a:moveTo>
                      <a:pt x="372979" y="621"/>
                    </a:moveTo>
                    <a:cubicBezTo>
                      <a:pt x="393363" y="621"/>
                      <a:pt x="410031" y="16623"/>
                      <a:pt x="411079" y="36816"/>
                    </a:cubicBezTo>
                    <a:lnTo>
                      <a:pt x="411079" y="38721"/>
                    </a:lnTo>
                    <a:lnTo>
                      <a:pt x="411079" y="114921"/>
                    </a:lnTo>
                    <a:lnTo>
                      <a:pt x="506329" y="114921"/>
                    </a:lnTo>
                    <a:cubicBezTo>
                      <a:pt x="522141" y="114921"/>
                      <a:pt x="534904" y="127685"/>
                      <a:pt x="534904" y="143496"/>
                    </a:cubicBezTo>
                    <a:lnTo>
                      <a:pt x="534904" y="210171"/>
                    </a:lnTo>
                    <a:lnTo>
                      <a:pt x="1504" y="210171"/>
                    </a:lnTo>
                    <a:lnTo>
                      <a:pt x="1504" y="143496"/>
                    </a:lnTo>
                    <a:cubicBezTo>
                      <a:pt x="1504" y="127685"/>
                      <a:pt x="14267" y="114921"/>
                      <a:pt x="30079" y="114921"/>
                    </a:cubicBezTo>
                    <a:lnTo>
                      <a:pt x="125329" y="114921"/>
                    </a:lnTo>
                    <a:lnTo>
                      <a:pt x="125329" y="38721"/>
                    </a:lnTo>
                    <a:cubicBezTo>
                      <a:pt x="125329" y="18337"/>
                      <a:pt x="141331" y="1669"/>
                      <a:pt x="161524" y="621"/>
                    </a:cubicBezTo>
                    <a:lnTo>
                      <a:pt x="163429" y="621"/>
                    </a:lnTo>
                    <a:lnTo>
                      <a:pt x="372979" y="621"/>
                    </a:lnTo>
                    <a:close/>
                    <a:moveTo>
                      <a:pt x="372979" y="19671"/>
                    </a:moveTo>
                    <a:lnTo>
                      <a:pt x="163429" y="19671"/>
                    </a:lnTo>
                    <a:cubicBezTo>
                      <a:pt x="153428" y="19671"/>
                      <a:pt x="145141" y="27482"/>
                      <a:pt x="144474" y="37292"/>
                    </a:cubicBezTo>
                    <a:lnTo>
                      <a:pt x="144379" y="38721"/>
                    </a:lnTo>
                    <a:lnTo>
                      <a:pt x="144379" y="114921"/>
                    </a:lnTo>
                    <a:lnTo>
                      <a:pt x="392029" y="114921"/>
                    </a:lnTo>
                    <a:lnTo>
                      <a:pt x="392029" y="38721"/>
                    </a:lnTo>
                    <a:cubicBezTo>
                      <a:pt x="392029" y="29196"/>
                      <a:pt x="384981" y="21290"/>
                      <a:pt x="375836" y="19862"/>
                    </a:cubicBezTo>
                    <a:lnTo>
                      <a:pt x="374408" y="19671"/>
                    </a:lnTo>
                    <a:lnTo>
                      <a:pt x="372979" y="19671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4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2" name="任意多边形: 形状 9"/>
            <p:cNvSpPr/>
            <p:nvPr/>
          </p:nvSpPr>
          <p:spPr>
            <a:xfrm>
              <a:off x="9477" y="4287"/>
              <a:ext cx="3953" cy="4543"/>
            </a:xfrm>
            <a:custGeom>
              <a:avLst/>
              <a:gdLst>
                <a:gd name="connsiteX0" fmla="*/ 3603308 w 3603307"/>
                <a:gd name="connsiteY0" fmla="*/ 1062038 h 4062412"/>
                <a:gd name="connsiteX1" fmla="*/ 3603308 w 3603307"/>
                <a:gd name="connsiteY1" fmla="*/ 3000375 h 4062412"/>
                <a:gd name="connsiteX2" fmla="*/ 3424238 w 3603307"/>
                <a:gd name="connsiteY2" fmla="*/ 3289935 h 4062412"/>
                <a:gd name="connsiteX3" fmla="*/ 1946910 w 3603307"/>
                <a:gd name="connsiteY3" fmla="*/ 4028123 h 4062412"/>
                <a:gd name="connsiteX4" fmla="*/ 1657350 w 3603307"/>
                <a:gd name="connsiteY4" fmla="*/ 4028123 h 4062412"/>
                <a:gd name="connsiteX5" fmla="*/ 179070 w 3603307"/>
                <a:gd name="connsiteY5" fmla="*/ 3289935 h 4062412"/>
                <a:gd name="connsiteX6" fmla="*/ 0 w 3603307"/>
                <a:gd name="connsiteY6" fmla="*/ 3000375 h 4062412"/>
                <a:gd name="connsiteX7" fmla="*/ 0 w 3603307"/>
                <a:gd name="connsiteY7" fmla="*/ 1062038 h 4062412"/>
                <a:gd name="connsiteX8" fmla="*/ 179070 w 3603307"/>
                <a:gd name="connsiteY8" fmla="*/ 772478 h 4062412"/>
                <a:gd name="connsiteX9" fmla="*/ 1656398 w 3603307"/>
                <a:gd name="connsiteY9" fmla="*/ 34290 h 4062412"/>
                <a:gd name="connsiteX10" fmla="*/ 1945958 w 3603307"/>
                <a:gd name="connsiteY10" fmla="*/ 34290 h 4062412"/>
                <a:gd name="connsiteX11" fmla="*/ 3423285 w 3603307"/>
                <a:gd name="connsiteY11" fmla="*/ 772478 h 4062412"/>
                <a:gd name="connsiteX12" fmla="*/ 3603308 w 3603307"/>
                <a:gd name="connsiteY12" fmla="*/ 1062038 h 406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03307" h="4062412">
                  <a:moveTo>
                    <a:pt x="3603308" y="1062038"/>
                  </a:moveTo>
                  <a:lnTo>
                    <a:pt x="3603308" y="3000375"/>
                  </a:lnTo>
                  <a:cubicBezTo>
                    <a:pt x="3603308" y="3123248"/>
                    <a:pt x="3533775" y="3235643"/>
                    <a:pt x="3424238" y="3289935"/>
                  </a:cubicBezTo>
                  <a:lnTo>
                    <a:pt x="1946910" y="4028123"/>
                  </a:lnTo>
                  <a:cubicBezTo>
                    <a:pt x="1855470" y="4073843"/>
                    <a:pt x="1748790" y="4073843"/>
                    <a:pt x="1657350" y="4028123"/>
                  </a:cubicBezTo>
                  <a:lnTo>
                    <a:pt x="179070" y="3289935"/>
                  </a:lnTo>
                  <a:cubicBezTo>
                    <a:pt x="69533" y="3235643"/>
                    <a:pt x="0" y="3123248"/>
                    <a:pt x="0" y="3000375"/>
                  </a:cubicBezTo>
                  <a:lnTo>
                    <a:pt x="0" y="1062038"/>
                  </a:lnTo>
                  <a:cubicBezTo>
                    <a:pt x="0" y="939165"/>
                    <a:pt x="69533" y="826770"/>
                    <a:pt x="179070" y="772478"/>
                  </a:cubicBezTo>
                  <a:lnTo>
                    <a:pt x="1656398" y="34290"/>
                  </a:lnTo>
                  <a:cubicBezTo>
                    <a:pt x="1747838" y="-11430"/>
                    <a:pt x="1854518" y="-11430"/>
                    <a:pt x="1945958" y="34290"/>
                  </a:cubicBezTo>
                  <a:lnTo>
                    <a:pt x="3423285" y="772478"/>
                  </a:lnTo>
                  <a:cubicBezTo>
                    <a:pt x="3533775" y="827723"/>
                    <a:pt x="3603308" y="939165"/>
                    <a:pt x="3603308" y="1062038"/>
                  </a:cubicBezTo>
                  <a:close/>
                </a:path>
              </a:pathLst>
            </a:custGeom>
            <a:solidFill>
              <a:schemeClr val="accent4">
                <a:alpha val="10000"/>
              </a:schemeClr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0" rIns="0" bIns="0" numCol="1" spcCol="0" rtlCol="0" fromWordArt="0" anchor="ctr" anchorCtr="0" forceAA="0" compatLnSpc="1">
              <a:normAutofit/>
            </a:bodyPr>
            <a:lstStyle/>
            <a:p>
              <a:pPr algn="ctr" defTabSz="913765"/>
              <a:r>
                <a:rPr lang="en-US" altLang="zh-CN" sz="1600" b="1" dirty="0">
                  <a:noFill/>
                  <a:latin typeface="Arial" panose="020B0604020202020204" pitchFamily="34" charset="0"/>
                  <a:ea typeface="华文楷体" panose="02010600040101010101" pitchFamily="2" charset="-122"/>
                </a:rPr>
                <a:t>01</a:t>
              </a:r>
              <a:endParaRPr lang="zh-CN" altLang="en-US" sz="1600" b="1" dirty="0">
                <a:noFill/>
                <a:latin typeface="Arial" panose="020B0604020202020204" pitchFamily="34" charset="0"/>
                <a:ea typeface="华文楷体" panose="02010600040101010101" pitchFamily="2" charset="-122"/>
              </a:endParaRPr>
            </a:p>
          </p:txBody>
        </p:sp>
        <p:grpSp>
          <p:nvGrpSpPr>
            <p:cNvPr id="17" name="组合 16"/>
            <p:cNvGrpSpPr>
              <a:grpSpLocks noChangeAspect="1"/>
            </p:cNvGrpSpPr>
            <p:nvPr/>
          </p:nvGrpSpPr>
          <p:grpSpPr>
            <a:xfrm rot="0">
              <a:off x="10974" y="5235"/>
              <a:ext cx="850" cy="850"/>
              <a:chOff x="5033834" y="4530811"/>
              <a:chExt cx="876463" cy="876459"/>
            </a:xfrm>
          </p:grpSpPr>
          <p:sp>
            <p:nvSpPr>
              <p:cNvPr id="18" name="矩形: 圆角 17"/>
              <p:cNvSpPr/>
              <p:nvPr/>
            </p:nvSpPr>
            <p:spPr>
              <a:xfrm>
                <a:off x="5033834" y="4530811"/>
                <a:ext cx="876463" cy="876459"/>
              </a:xfrm>
              <a:prstGeom prst="roundRect">
                <a:avLst/>
              </a:prstGeom>
              <a:gradFill>
                <a:gsLst>
                  <a:gs pos="0">
                    <a:schemeClr val="accent4">
                      <a:lumMod val="60000"/>
                      <a:lumOff val="40000"/>
                    </a:schemeClr>
                  </a:gs>
                  <a:gs pos="60000">
                    <a:schemeClr val="accent4"/>
                  </a:gs>
                </a:gsLst>
                <a:lin ang="2700000" scaled="0"/>
              </a:gradFill>
              <a:ln w="57150" cap="rnd">
                <a:noFill/>
                <a:prstDash val="solid"/>
                <a:round/>
              </a:ln>
              <a:effectLst>
                <a:outerShdw blurRad="76200" dist="50800" dir="5400000" algn="ctr" rotWithShape="0">
                  <a:schemeClr val="accent4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任意多边形: 形状 18"/>
              <p:cNvSpPr/>
              <p:nvPr/>
            </p:nvSpPr>
            <p:spPr>
              <a:xfrm>
                <a:off x="5281901" y="4831180"/>
                <a:ext cx="380330" cy="302854"/>
              </a:xfrm>
              <a:custGeom>
                <a:avLst/>
                <a:gdLst>
                  <a:gd name="connsiteX0" fmla="*/ 486767 w 514350"/>
                  <a:gd name="connsiteY0" fmla="*/ 621 h 409575"/>
                  <a:gd name="connsiteX1" fmla="*/ 515342 w 514350"/>
                  <a:gd name="connsiteY1" fmla="*/ 29196 h 409575"/>
                  <a:gd name="connsiteX2" fmla="*/ 515342 w 514350"/>
                  <a:gd name="connsiteY2" fmla="*/ 324471 h 409575"/>
                  <a:gd name="connsiteX3" fmla="*/ 486767 w 514350"/>
                  <a:gd name="connsiteY3" fmla="*/ 353046 h 409575"/>
                  <a:gd name="connsiteX4" fmla="*/ 192159 w 514350"/>
                  <a:gd name="connsiteY4" fmla="*/ 353046 h 409575"/>
                  <a:gd name="connsiteX5" fmla="*/ 115387 w 514350"/>
                  <a:gd name="connsiteY5" fmla="*/ 410196 h 409575"/>
                  <a:gd name="connsiteX6" fmla="*/ 115387 w 514350"/>
                  <a:gd name="connsiteY6" fmla="*/ 353046 h 409575"/>
                  <a:gd name="connsiteX7" fmla="*/ 29567 w 514350"/>
                  <a:gd name="connsiteY7" fmla="*/ 353046 h 409575"/>
                  <a:gd name="connsiteX8" fmla="*/ 992 w 514350"/>
                  <a:gd name="connsiteY8" fmla="*/ 324471 h 409575"/>
                  <a:gd name="connsiteX9" fmla="*/ 992 w 514350"/>
                  <a:gd name="connsiteY9" fmla="*/ 29196 h 409575"/>
                  <a:gd name="connsiteX10" fmla="*/ 29567 w 514350"/>
                  <a:gd name="connsiteY10" fmla="*/ 621 h 409575"/>
                  <a:gd name="connsiteX11" fmla="*/ 486767 w 514350"/>
                  <a:gd name="connsiteY11" fmla="*/ 621 h 409575"/>
                  <a:gd name="connsiteX12" fmla="*/ 124817 w 514350"/>
                  <a:gd name="connsiteY12" fmla="*/ 143496 h 409575"/>
                  <a:gd name="connsiteX13" fmla="*/ 91480 w 514350"/>
                  <a:gd name="connsiteY13" fmla="*/ 176834 h 409575"/>
                  <a:gd name="connsiteX14" fmla="*/ 124817 w 514350"/>
                  <a:gd name="connsiteY14" fmla="*/ 210171 h 409575"/>
                  <a:gd name="connsiteX15" fmla="*/ 158155 w 514350"/>
                  <a:gd name="connsiteY15" fmla="*/ 176834 h 409575"/>
                  <a:gd name="connsiteX16" fmla="*/ 124817 w 514350"/>
                  <a:gd name="connsiteY16" fmla="*/ 143496 h 409575"/>
                  <a:gd name="connsiteX17" fmla="*/ 258167 w 514350"/>
                  <a:gd name="connsiteY17" fmla="*/ 143496 h 409575"/>
                  <a:gd name="connsiteX18" fmla="*/ 224830 w 514350"/>
                  <a:gd name="connsiteY18" fmla="*/ 176834 h 409575"/>
                  <a:gd name="connsiteX19" fmla="*/ 258167 w 514350"/>
                  <a:gd name="connsiteY19" fmla="*/ 210171 h 409575"/>
                  <a:gd name="connsiteX20" fmla="*/ 291505 w 514350"/>
                  <a:gd name="connsiteY20" fmla="*/ 176834 h 409575"/>
                  <a:gd name="connsiteX21" fmla="*/ 258167 w 514350"/>
                  <a:gd name="connsiteY21" fmla="*/ 143496 h 409575"/>
                  <a:gd name="connsiteX22" fmla="*/ 391517 w 514350"/>
                  <a:gd name="connsiteY22" fmla="*/ 143496 h 409575"/>
                  <a:gd name="connsiteX23" fmla="*/ 358180 w 514350"/>
                  <a:gd name="connsiteY23" fmla="*/ 176834 h 409575"/>
                  <a:gd name="connsiteX24" fmla="*/ 391517 w 514350"/>
                  <a:gd name="connsiteY24" fmla="*/ 210171 h 409575"/>
                  <a:gd name="connsiteX25" fmla="*/ 424855 w 514350"/>
                  <a:gd name="connsiteY25" fmla="*/ 176834 h 409575"/>
                  <a:gd name="connsiteX26" fmla="*/ 391517 w 514350"/>
                  <a:gd name="connsiteY26" fmla="*/ 143496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6767" y="621"/>
                    </a:moveTo>
                    <a:cubicBezTo>
                      <a:pt x="502579" y="621"/>
                      <a:pt x="515342" y="13385"/>
                      <a:pt x="515342" y="29196"/>
                    </a:cubicBezTo>
                    <a:lnTo>
                      <a:pt x="515342" y="324471"/>
                    </a:lnTo>
                    <a:cubicBezTo>
                      <a:pt x="515342" y="340282"/>
                      <a:pt x="502579" y="353046"/>
                      <a:pt x="486767" y="353046"/>
                    </a:cubicBezTo>
                    <a:lnTo>
                      <a:pt x="192159" y="353046"/>
                    </a:lnTo>
                    <a:lnTo>
                      <a:pt x="115387" y="410196"/>
                    </a:lnTo>
                    <a:lnTo>
                      <a:pt x="115387" y="353046"/>
                    </a:lnTo>
                    <a:lnTo>
                      <a:pt x="29567" y="353046"/>
                    </a:lnTo>
                    <a:cubicBezTo>
                      <a:pt x="13755" y="353046"/>
                      <a:pt x="992" y="340282"/>
                      <a:pt x="992" y="324471"/>
                    </a:cubicBezTo>
                    <a:lnTo>
                      <a:pt x="992" y="29196"/>
                    </a:lnTo>
                    <a:cubicBezTo>
                      <a:pt x="992" y="13385"/>
                      <a:pt x="13755" y="621"/>
                      <a:pt x="29567" y="621"/>
                    </a:cubicBezTo>
                    <a:lnTo>
                      <a:pt x="486767" y="621"/>
                    </a:lnTo>
                    <a:close/>
                    <a:moveTo>
                      <a:pt x="124817" y="143496"/>
                    </a:moveTo>
                    <a:cubicBezTo>
                      <a:pt x="106434" y="143496"/>
                      <a:pt x="91480" y="158450"/>
                      <a:pt x="91480" y="176834"/>
                    </a:cubicBezTo>
                    <a:cubicBezTo>
                      <a:pt x="91480" y="195217"/>
                      <a:pt x="106434" y="210171"/>
                      <a:pt x="124817" y="210171"/>
                    </a:cubicBezTo>
                    <a:cubicBezTo>
                      <a:pt x="143200" y="210171"/>
                      <a:pt x="158155" y="195217"/>
                      <a:pt x="158155" y="176834"/>
                    </a:cubicBezTo>
                    <a:cubicBezTo>
                      <a:pt x="158155" y="158450"/>
                      <a:pt x="143200" y="143496"/>
                      <a:pt x="124817" y="143496"/>
                    </a:cubicBezTo>
                    <a:close/>
                    <a:moveTo>
                      <a:pt x="258167" y="143496"/>
                    </a:moveTo>
                    <a:cubicBezTo>
                      <a:pt x="239784" y="143496"/>
                      <a:pt x="224830" y="158450"/>
                      <a:pt x="224830" y="176834"/>
                    </a:cubicBezTo>
                    <a:cubicBezTo>
                      <a:pt x="224830" y="195217"/>
                      <a:pt x="239784" y="210171"/>
                      <a:pt x="258167" y="210171"/>
                    </a:cubicBezTo>
                    <a:cubicBezTo>
                      <a:pt x="276550" y="210171"/>
                      <a:pt x="291505" y="195217"/>
                      <a:pt x="291505" y="176834"/>
                    </a:cubicBezTo>
                    <a:cubicBezTo>
                      <a:pt x="291505" y="158450"/>
                      <a:pt x="276550" y="143496"/>
                      <a:pt x="258167" y="143496"/>
                    </a:cubicBezTo>
                    <a:close/>
                    <a:moveTo>
                      <a:pt x="391517" y="143496"/>
                    </a:moveTo>
                    <a:cubicBezTo>
                      <a:pt x="373134" y="143496"/>
                      <a:pt x="358180" y="158450"/>
                      <a:pt x="358180" y="176834"/>
                    </a:cubicBezTo>
                    <a:cubicBezTo>
                      <a:pt x="358180" y="195217"/>
                      <a:pt x="373134" y="210171"/>
                      <a:pt x="391517" y="210171"/>
                    </a:cubicBezTo>
                    <a:cubicBezTo>
                      <a:pt x="409900" y="210171"/>
                      <a:pt x="424855" y="195217"/>
                      <a:pt x="424855" y="176834"/>
                    </a:cubicBezTo>
                    <a:cubicBezTo>
                      <a:pt x="424855" y="158450"/>
                      <a:pt x="409900" y="143496"/>
                      <a:pt x="391517" y="1434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6" name="任意多边形: 形状 35"/>
            <p:cNvSpPr/>
            <p:nvPr/>
          </p:nvSpPr>
          <p:spPr>
            <a:xfrm>
              <a:off x="13182" y="4287"/>
              <a:ext cx="3953" cy="4543"/>
            </a:xfrm>
            <a:custGeom>
              <a:avLst/>
              <a:gdLst>
                <a:gd name="connsiteX0" fmla="*/ 3603308 w 3603307"/>
                <a:gd name="connsiteY0" fmla="*/ 1062038 h 4062412"/>
                <a:gd name="connsiteX1" fmla="*/ 3603308 w 3603307"/>
                <a:gd name="connsiteY1" fmla="*/ 3000375 h 4062412"/>
                <a:gd name="connsiteX2" fmla="*/ 3424238 w 3603307"/>
                <a:gd name="connsiteY2" fmla="*/ 3289935 h 4062412"/>
                <a:gd name="connsiteX3" fmla="*/ 1946910 w 3603307"/>
                <a:gd name="connsiteY3" fmla="*/ 4028123 h 4062412"/>
                <a:gd name="connsiteX4" fmla="*/ 1657350 w 3603307"/>
                <a:gd name="connsiteY4" fmla="*/ 4028123 h 4062412"/>
                <a:gd name="connsiteX5" fmla="*/ 179070 w 3603307"/>
                <a:gd name="connsiteY5" fmla="*/ 3289935 h 4062412"/>
                <a:gd name="connsiteX6" fmla="*/ 0 w 3603307"/>
                <a:gd name="connsiteY6" fmla="*/ 3000375 h 4062412"/>
                <a:gd name="connsiteX7" fmla="*/ 0 w 3603307"/>
                <a:gd name="connsiteY7" fmla="*/ 1062038 h 4062412"/>
                <a:gd name="connsiteX8" fmla="*/ 179070 w 3603307"/>
                <a:gd name="connsiteY8" fmla="*/ 772478 h 4062412"/>
                <a:gd name="connsiteX9" fmla="*/ 1656398 w 3603307"/>
                <a:gd name="connsiteY9" fmla="*/ 34290 h 4062412"/>
                <a:gd name="connsiteX10" fmla="*/ 1945958 w 3603307"/>
                <a:gd name="connsiteY10" fmla="*/ 34290 h 4062412"/>
                <a:gd name="connsiteX11" fmla="*/ 3423285 w 3603307"/>
                <a:gd name="connsiteY11" fmla="*/ 772478 h 4062412"/>
                <a:gd name="connsiteX12" fmla="*/ 3603308 w 3603307"/>
                <a:gd name="connsiteY12" fmla="*/ 1062038 h 406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03307" h="4062412">
                  <a:moveTo>
                    <a:pt x="3603308" y="1062038"/>
                  </a:moveTo>
                  <a:lnTo>
                    <a:pt x="3603308" y="3000375"/>
                  </a:lnTo>
                  <a:cubicBezTo>
                    <a:pt x="3603308" y="3123248"/>
                    <a:pt x="3533775" y="3235643"/>
                    <a:pt x="3424238" y="3289935"/>
                  </a:cubicBezTo>
                  <a:lnTo>
                    <a:pt x="1946910" y="4028123"/>
                  </a:lnTo>
                  <a:cubicBezTo>
                    <a:pt x="1855470" y="4073843"/>
                    <a:pt x="1748790" y="4073843"/>
                    <a:pt x="1657350" y="4028123"/>
                  </a:cubicBezTo>
                  <a:lnTo>
                    <a:pt x="179070" y="3289935"/>
                  </a:lnTo>
                  <a:cubicBezTo>
                    <a:pt x="69533" y="3235643"/>
                    <a:pt x="0" y="3123248"/>
                    <a:pt x="0" y="3000375"/>
                  </a:cubicBezTo>
                  <a:lnTo>
                    <a:pt x="0" y="1062038"/>
                  </a:lnTo>
                  <a:cubicBezTo>
                    <a:pt x="0" y="939165"/>
                    <a:pt x="69533" y="826770"/>
                    <a:pt x="179070" y="772478"/>
                  </a:cubicBezTo>
                  <a:lnTo>
                    <a:pt x="1656398" y="34290"/>
                  </a:lnTo>
                  <a:cubicBezTo>
                    <a:pt x="1747838" y="-11430"/>
                    <a:pt x="1854518" y="-11430"/>
                    <a:pt x="1945958" y="34290"/>
                  </a:cubicBezTo>
                  <a:lnTo>
                    <a:pt x="3423285" y="772478"/>
                  </a:lnTo>
                  <a:cubicBezTo>
                    <a:pt x="3533775" y="827723"/>
                    <a:pt x="3603308" y="939165"/>
                    <a:pt x="3603308" y="1062038"/>
                  </a:cubicBezTo>
                  <a:close/>
                </a:path>
              </a:pathLst>
            </a:custGeom>
            <a:solidFill>
              <a:schemeClr val="accent2">
                <a:alpha val="10000"/>
              </a:schemeClr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0" rIns="0" bIns="0" numCol="1" spcCol="0" rtlCol="0" fromWordArt="0" anchor="ctr" anchorCtr="0" forceAA="0" compatLnSpc="1">
              <a:normAutofit/>
            </a:bodyPr>
            <a:lstStyle/>
            <a:p>
              <a:pPr algn="ctr" defTabSz="913765"/>
              <a:r>
                <a:rPr lang="en-US" altLang="zh-CN" sz="1600" b="1" dirty="0">
                  <a:noFill/>
                  <a:latin typeface="Arial" panose="020B0604020202020204" pitchFamily="34" charset="0"/>
                  <a:ea typeface="华文楷体" panose="02010600040101010101" pitchFamily="2" charset="-122"/>
                </a:rPr>
                <a:t>02</a:t>
              </a:r>
              <a:endParaRPr lang="zh-CN" altLang="en-US" sz="1600" b="1" dirty="0">
                <a:noFill/>
                <a:latin typeface="Arial" panose="020B0604020202020204" pitchFamily="34" charset="0"/>
                <a:ea typeface="华文楷体" panose="02010600040101010101" pitchFamily="2" charset="-122"/>
              </a:endParaRPr>
            </a:p>
          </p:txBody>
        </p:sp>
        <p:grpSp>
          <p:nvGrpSpPr>
            <p:cNvPr id="13" name="组合 12"/>
            <p:cNvGrpSpPr>
              <a:grpSpLocks noChangeAspect="1"/>
            </p:cNvGrpSpPr>
            <p:nvPr/>
          </p:nvGrpSpPr>
          <p:grpSpPr>
            <a:xfrm rot="0">
              <a:off x="14733" y="5235"/>
              <a:ext cx="850" cy="850"/>
              <a:chOff x="7036727" y="1930888"/>
              <a:chExt cx="876463" cy="876459"/>
            </a:xfrm>
          </p:grpSpPr>
          <p:sp>
            <p:nvSpPr>
              <p:cNvPr id="28" name="矩形: 圆角 27"/>
              <p:cNvSpPr/>
              <p:nvPr/>
            </p:nvSpPr>
            <p:spPr>
              <a:xfrm>
                <a:off x="7036727" y="1930888"/>
                <a:ext cx="876463" cy="876459"/>
              </a:xfrm>
              <a:prstGeom prst="roundRect">
                <a:avLst/>
              </a:prstGeom>
              <a:gradFill>
                <a:gsLst>
                  <a:gs pos="0">
                    <a:schemeClr val="accent2">
                      <a:lumMod val="60000"/>
                      <a:lumOff val="40000"/>
                    </a:schemeClr>
                  </a:gs>
                  <a:gs pos="60000">
                    <a:schemeClr val="accent2"/>
                  </a:gs>
                </a:gsLst>
                <a:lin ang="2700000" scaled="0"/>
              </a:gradFill>
              <a:ln w="57150" cap="rnd">
                <a:noFill/>
                <a:prstDash val="solid"/>
                <a:round/>
              </a:ln>
              <a:effectLst>
                <a:outerShdw blurRad="76200" dist="50800" dir="5400000" algn="ctr" rotWithShape="0">
                  <a:schemeClr val="accent2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任意多边形: 形状 28"/>
              <p:cNvSpPr/>
              <p:nvPr/>
            </p:nvSpPr>
            <p:spPr>
              <a:xfrm>
                <a:off x="7301476" y="2192519"/>
                <a:ext cx="346966" cy="380330"/>
              </a:xfrm>
              <a:custGeom>
                <a:avLst/>
                <a:gdLst>
                  <a:gd name="connsiteX0" fmla="*/ 248770 w 495300"/>
                  <a:gd name="connsiteY0" fmla="*/ 621 h 542925"/>
                  <a:gd name="connsiteX1" fmla="*/ 496420 w 495300"/>
                  <a:gd name="connsiteY1" fmla="*/ 248271 h 542925"/>
                  <a:gd name="connsiteX2" fmla="*/ 323827 w 495300"/>
                  <a:gd name="connsiteY2" fmla="*/ 484396 h 542925"/>
                  <a:gd name="connsiteX3" fmla="*/ 346973 w 495300"/>
                  <a:gd name="connsiteY3" fmla="*/ 524496 h 542925"/>
                  <a:gd name="connsiteX4" fmla="*/ 420220 w 495300"/>
                  <a:gd name="connsiteY4" fmla="*/ 524496 h 542925"/>
                  <a:gd name="connsiteX5" fmla="*/ 420220 w 495300"/>
                  <a:gd name="connsiteY5" fmla="*/ 543546 h 542925"/>
                  <a:gd name="connsiteX6" fmla="*/ 77320 w 495300"/>
                  <a:gd name="connsiteY6" fmla="*/ 543546 h 542925"/>
                  <a:gd name="connsiteX7" fmla="*/ 77320 w 495300"/>
                  <a:gd name="connsiteY7" fmla="*/ 524496 h 542925"/>
                  <a:gd name="connsiteX8" fmla="*/ 150567 w 495300"/>
                  <a:gd name="connsiteY8" fmla="*/ 524496 h 542925"/>
                  <a:gd name="connsiteX9" fmla="*/ 173713 w 495300"/>
                  <a:gd name="connsiteY9" fmla="*/ 484396 h 542925"/>
                  <a:gd name="connsiteX10" fmla="*/ 1120 w 495300"/>
                  <a:gd name="connsiteY10" fmla="*/ 248271 h 542925"/>
                  <a:gd name="connsiteX11" fmla="*/ 248770 w 495300"/>
                  <a:gd name="connsiteY11" fmla="*/ 621 h 542925"/>
                  <a:gd name="connsiteX12" fmla="*/ 192763 w 495300"/>
                  <a:gd name="connsiteY12" fmla="*/ 489539 h 542925"/>
                  <a:gd name="connsiteX13" fmla="*/ 172570 w 495300"/>
                  <a:gd name="connsiteY13" fmla="*/ 524496 h 542925"/>
                  <a:gd name="connsiteX14" fmla="*/ 324970 w 495300"/>
                  <a:gd name="connsiteY14" fmla="*/ 524496 h 542925"/>
                  <a:gd name="connsiteX15" fmla="*/ 304777 w 495300"/>
                  <a:gd name="connsiteY15" fmla="*/ 489539 h 542925"/>
                  <a:gd name="connsiteX16" fmla="*/ 248770 w 495300"/>
                  <a:gd name="connsiteY16" fmla="*/ 495921 h 542925"/>
                  <a:gd name="connsiteX17" fmla="*/ 192763 w 495300"/>
                  <a:gd name="connsiteY17" fmla="*/ 489539 h 542925"/>
                  <a:gd name="connsiteX18" fmla="*/ 248770 w 495300"/>
                  <a:gd name="connsiteY18" fmla="*/ 143496 h 542925"/>
                  <a:gd name="connsiteX19" fmla="*/ 143995 w 495300"/>
                  <a:gd name="connsiteY19" fmla="*/ 248271 h 542925"/>
                  <a:gd name="connsiteX20" fmla="*/ 248770 w 495300"/>
                  <a:gd name="connsiteY20" fmla="*/ 353046 h 542925"/>
                  <a:gd name="connsiteX21" fmla="*/ 353545 w 495300"/>
                  <a:gd name="connsiteY21" fmla="*/ 248271 h 542925"/>
                  <a:gd name="connsiteX22" fmla="*/ 248770 w 495300"/>
                  <a:gd name="connsiteY22" fmla="*/ 143496 h 542925"/>
                  <a:gd name="connsiteX23" fmla="*/ 367833 w 495300"/>
                  <a:gd name="connsiteY23" fmla="*/ 114921 h 542925"/>
                  <a:gd name="connsiteX24" fmla="*/ 353545 w 495300"/>
                  <a:gd name="connsiteY24" fmla="*/ 129209 h 542925"/>
                  <a:gd name="connsiteX25" fmla="*/ 367833 w 495300"/>
                  <a:gd name="connsiteY25" fmla="*/ 143496 h 542925"/>
                  <a:gd name="connsiteX26" fmla="*/ 382120 w 495300"/>
                  <a:gd name="connsiteY26" fmla="*/ 129209 h 542925"/>
                  <a:gd name="connsiteX27" fmla="*/ 367833 w 495300"/>
                  <a:gd name="connsiteY27" fmla="*/ 114921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8770" y="621"/>
                    </a:moveTo>
                    <a:cubicBezTo>
                      <a:pt x="385549" y="621"/>
                      <a:pt x="496420" y="111492"/>
                      <a:pt x="496420" y="248271"/>
                    </a:cubicBezTo>
                    <a:cubicBezTo>
                      <a:pt x="496420" y="358856"/>
                      <a:pt x="423935" y="452582"/>
                      <a:pt x="323827" y="484396"/>
                    </a:cubicBezTo>
                    <a:lnTo>
                      <a:pt x="346973" y="524496"/>
                    </a:lnTo>
                    <a:lnTo>
                      <a:pt x="420220" y="524496"/>
                    </a:lnTo>
                    <a:lnTo>
                      <a:pt x="420220" y="543546"/>
                    </a:lnTo>
                    <a:lnTo>
                      <a:pt x="77320" y="543546"/>
                    </a:lnTo>
                    <a:lnTo>
                      <a:pt x="77320" y="524496"/>
                    </a:lnTo>
                    <a:lnTo>
                      <a:pt x="150567" y="524496"/>
                    </a:lnTo>
                    <a:lnTo>
                      <a:pt x="173713" y="484396"/>
                    </a:lnTo>
                    <a:cubicBezTo>
                      <a:pt x="73605" y="452582"/>
                      <a:pt x="1120" y="358856"/>
                      <a:pt x="1120" y="248271"/>
                    </a:cubicBezTo>
                    <a:cubicBezTo>
                      <a:pt x="1120" y="111492"/>
                      <a:pt x="111991" y="621"/>
                      <a:pt x="248770" y="621"/>
                    </a:cubicBezTo>
                    <a:close/>
                    <a:moveTo>
                      <a:pt x="192763" y="489539"/>
                    </a:moveTo>
                    <a:lnTo>
                      <a:pt x="172570" y="524496"/>
                    </a:lnTo>
                    <a:lnTo>
                      <a:pt x="324970" y="524496"/>
                    </a:lnTo>
                    <a:lnTo>
                      <a:pt x="304777" y="489539"/>
                    </a:lnTo>
                    <a:cubicBezTo>
                      <a:pt x="286775" y="493730"/>
                      <a:pt x="268010" y="495921"/>
                      <a:pt x="248770" y="495921"/>
                    </a:cubicBezTo>
                    <a:cubicBezTo>
                      <a:pt x="229530" y="495921"/>
                      <a:pt x="210765" y="493730"/>
                      <a:pt x="192763" y="489539"/>
                    </a:cubicBezTo>
                    <a:close/>
                    <a:moveTo>
                      <a:pt x="248770" y="143496"/>
                    </a:moveTo>
                    <a:cubicBezTo>
                      <a:pt x="190858" y="143496"/>
                      <a:pt x="143995" y="190359"/>
                      <a:pt x="143995" y="248271"/>
                    </a:cubicBezTo>
                    <a:cubicBezTo>
                      <a:pt x="143995" y="306183"/>
                      <a:pt x="190858" y="353046"/>
                      <a:pt x="248770" y="353046"/>
                    </a:cubicBezTo>
                    <a:cubicBezTo>
                      <a:pt x="306682" y="353046"/>
                      <a:pt x="353545" y="306183"/>
                      <a:pt x="353545" y="248271"/>
                    </a:cubicBezTo>
                    <a:cubicBezTo>
                      <a:pt x="353545" y="190359"/>
                      <a:pt x="306682" y="143496"/>
                      <a:pt x="248770" y="143496"/>
                    </a:cubicBezTo>
                    <a:close/>
                    <a:moveTo>
                      <a:pt x="367833" y="114921"/>
                    </a:moveTo>
                    <a:cubicBezTo>
                      <a:pt x="359927" y="114921"/>
                      <a:pt x="353545" y="121303"/>
                      <a:pt x="353545" y="129209"/>
                    </a:cubicBezTo>
                    <a:cubicBezTo>
                      <a:pt x="353545" y="137114"/>
                      <a:pt x="359927" y="143496"/>
                      <a:pt x="367833" y="143496"/>
                    </a:cubicBezTo>
                    <a:cubicBezTo>
                      <a:pt x="375738" y="143496"/>
                      <a:pt x="382120" y="137114"/>
                      <a:pt x="382120" y="129209"/>
                    </a:cubicBezTo>
                    <a:cubicBezTo>
                      <a:pt x="382120" y="121303"/>
                      <a:pt x="375738" y="114921"/>
                      <a:pt x="367833" y="1149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9" name="组合 38"/>
            <p:cNvGrpSpPr/>
            <p:nvPr/>
          </p:nvGrpSpPr>
          <p:grpSpPr>
            <a:xfrm rot="0">
              <a:off x="6249" y="6571"/>
              <a:ext cx="2942" cy="1370"/>
              <a:chOff x="1672888" y="3842602"/>
              <a:chExt cx="1868016" cy="870037"/>
            </a:xfrm>
          </p:grpSpPr>
          <p:sp>
            <p:nvSpPr>
              <p:cNvPr id="40" name="文本框 39"/>
              <p:cNvSpPr txBox="1"/>
              <p:nvPr/>
            </p:nvSpPr>
            <p:spPr>
              <a:xfrm>
                <a:off x="1672888" y="3842602"/>
                <a:ext cx="1868016" cy="295022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/>
              <a:p>
                <a:pPr algn="ctr"/>
                <a:r>
                  <a:rPr lang="zh-CN" altLang="en-US" sz="1600" b="1" dirty="0">
                    <a:latin typeface="Arial" panose="020B0604020202020204" pitchFamily="34" charset="0"/>
                    <a:ea typeface="华文楷体" panose="02010600040101010101" pitchFamily="2" charset="-122"/>
                  </a:rPr>
                  <a:t>输入数据</a:t>
                </a:r>
                <a:endParaRPr lang="zh-CN" altLang="en-US" sz="1600" b="1" dirty="0"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41" name="矩形 40"/>
              <p:cNvSpPr/>
              <p:nvPr/>
            </p:nvSpPr>
            <p:spPr>
              <a:xfrm>
                <a:off x="1672888" y="4145941"/>
                <a:ext cx="1868016" cy="566698"/>
              </a:xfrm>
              <a:prstGeom prst="rect">
                <a:avLst/>
              </a:prstGeom>
              <a:noFill/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0000" tIns="90000" rIns="90000" bIns="90000" numCol="1" spcCol="0" rtlCol="0" fromWordArt="0" anchor="t" anchorCtr="0" forceAA="0" compatLnSpc="1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zh-CN" altLang="en-US" sz="1200" dirty="0">
                    <a:solidFill>
                      <a:schemeClr val="tx1"/>
                    </a:solidFill>
                    <a:latin typeface="Arial" panose="020B0604020202020204" pitchFamily="34" charset="0"/>
                    <a:ea typeface="华文楷体" panose="02010600040101010101" pitchFamily="2" charset="-122"/>
                  </a:rPr>
                  <a:t>使用采样方法，使得模型输入样本不完全相同</a:t>
                </a:r>
                <a:endParaRPr lang="zh-CN" altLang="en-US" sz="1200" dirty="0">
                  <a:solidFill>
                    <a:schemeClr val="tx1"/>
                  </a:solidFill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</p:txBody>
          </p:sp>
        </p:grpSp>
        <p:grpSp>
          <p:nvGrpSpPr>
            <p:cNvPr id="42" name="组合 41"/>
            <p:cNvGrpSpPr/>
            <p:nvPr/>
          </p:nvGrpSpPr>
          <p:grpSpPr>
            <a:xfrm rot="0">
              <a:off x="9928" y="6571"/>
              <a:ext cx="2942" cy="1370"/>
              <a:chOff x="1672888" y="3842602"/>
              <a:chExt cx="1868016" cy="870037"/>
            </a:xfrm>
          </p:grpSpPr>
          <p:sp>
            <p:nvSpPr>
              <p:cNvPr id="43" name="文本框 42"/>
              <p:cNvSpPr txBox="1"/>
              <p:nvPr/>
            </p:nvSpPr>
            <p:spPr>
              <a:xfrm>
                <a:off x="1672888" y="3842602"/>
                <a:ext cx="1868016" cy="295022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/>
              <a:p>
                <a:pPr algn="ctr"/>
                <a:r>
                  <a:rPr lang="zh-CN" altLang="en-US" sz="1600" b="1" dirty="0">
                    <a:latin typeface="Arial" panose="020B0604020202020204" pitchFamily="34" charset="0"/>
                    <a:ea typeface="华文楷体" panose="02010600040101010101" pitchFamily="2" charset="-122"/>
                  </a:rPr>
                  <a:t>输入特征</a:t>
                </a:r>
                <a:endParaRPr lang="zh-CN" altLang="en-US" sz="1600" b="1" dirty="0"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44" name="矩形 43"/>
              <p:cNvSpPr/>
              <p:nvPr/>
            </p:nvSpPr>
            <p:spPr>
              <a:xfrm>
                <a:off x="1672888" y="4145941"/>
                <a:ext cx="1868016" cy="566698"/>
              </a:xfrm>
              <a:prstGeom prst="rect">
                <a:avLst/>
              </a:prstGeom>
              <a:noFill/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0000" tIns="90000" rIns="90000" bIns="90000" numCol="1" spcCol="0" rtlCol="0" fromWordArt="0" anchor="t" anchorCtr="0" forceAA="0" compatLnSpc="1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zh-CN" altLang="en-US" sz="1200" dirty="0">
                    <a:solidFill>
                      <a:schemeClr val="tx1"/>
                    </a:solidFill>
                    <a:latin typeface="Arial" panose="020B0604020202020204" pitchFamily="34" charset="0"/>
                    <a:ea typeface="华文楷体" panose="02010600040101010101" pitchFamily="2" charset="-122"/>
                  </a:rPr>
                  <a:t>对特征进行抽样，特征不完全相同</a:t>
                </a:r>
                <a:endParaRPr lang="zh-CN" altLang="en-US" sz="1200" dirty="0">
                  <a:solidFill>
                    <a:schemeClr val="tx1"/>
                  </a:solidFill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</p:txBody>
          </p:sp>
        </p:grpSp>
        <p:grpSp>
          <p:nvGrpSpPr>
            <p:cNvPr id="45" name="组合 44"/>
            <p:cNvGrpSpPr/>
            <p:nvPr/>
          </p:nvGrpSpPr>
          <p:grpSpPr>
            <a:xfrm rot="0">
              <a:off x="13688" y="6571"/>
              <a:ext cx="2942" cy="1370"/>
              <a:chOff x="1672888" y="3842602"/>
              <a:chExt cx="1868016" cy="870037"/>
            </a:xfrm>
          </p:grpSpPr>
          <p:sp>
            <p:nvSpPr>
              <p:cNvPr id="46" name="文本框 45"/>
              <p:cNvSpPr txBox="1"/>
              <p:nvPr/>
            </p:nvSpPr>
            <p:spPr>
              <a:xfrm>
                <a:off x="1672888" y="3842602"/>
                <a:ext cx="1868016" cy="295022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/>
              <a:p>
                <a:pPr algn="ctr"/>
                <a:r>
                  <a:rPr lang="zh-CN" altLang="en-US" sz="1600" b="1" dirty="0">
                    <a:latin typeface="Arial" panose="020B0604020202020204" pitchFamily="34" charset="0"/>
                    <a:ea typeface="华文楷体" panose="02010600040101010101" pitchFamily="2" charset="-122"/>
                  </a:rPr>
                  <a:t>算法本身</a:t>
                </a:r>
                <a:endParaRPr lang="zh-CN" altLang="en-US" sz="1600" b="1" dirty="0"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47" name="矩形 46"/>
              <p:cNvSpPr/>
              <p:nvPr/>
            </p:nvSpPr>
            <p:spPr>
              <a:xfrm>
                <a:off x="1672888" y="4145941"/>
                <a:ext cx="1868016" cy="566698"/>
              </a:xfrm>
              <a:prstGeom prst="rect">
                <a:avLst/>
              </a:prstGeom>
              <a:noFill/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0000" tIns="90000" rIns="90000" bIns="90000" numCol="1" spcCol="0" rtlCol="0" fromWordArt="0" anchor="t" anchorCtr="0" forceAA="0" compatLnSpc="1">
                <a:noAutofit/>
              </a:bodyPr>
              <a:lstStyle/>
              <a:p>
                <a:pPr marL="171450" indent="-171450" algn="l">
                  <a:lnSpc>
                    <a:spcPct val="13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200" dirty="0">
                    <a:solidFill>
                      <a:schemeClr val="tx1"/>
                    </a:solidFill>
                    <a:latin typeface="Arial" panose="020B0604020202020204" pitchFamily="34" charset="0"/>
                    <a:ea typeface="华文楷体" panose="02010600040101010101" pitchFamily="2" charset="-122"/>
                  </a:rPr>
                  <a:t>算法尽可能不一样</a:t>
                </a:r>
                <a:endParaRPr lang="zh-CN" altLang="en-US" sz="1200" dirty="0">
                  <a:solidFill>
                    <a:schemeClr val="tx1"/>
                  </a:solidFill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  <a:p>
                <a:pPr marL="171450" indent="-171450" algn="l">
                  <a:lnSpc>
                    <a:spcPct val="13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200" dirty="0">
                    <a:solidFill>
                      <a:schemeClr val="tx1"/>
                    </a:solidFill>
                    <a:latin typeface="Arial" panose="020B0604020202020204" pitchFamily="34" charset="0"/>
                    <a:ea typeface="华文楷体" panose="02010600040101010101" pitchFamily="2" charset="-122"/>
                  </a:rPr>
                  <a:t>相同的算法，参数尽可能不一样</a:t>
                </a:r>
                <a:endParaRPr lang="zh-CN" altLang="en-US" sz="1200" dirty="0">
                  <a:solidFill>
                    <a:schemeClr val="tx1"/>
                  </a:solidFill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</p:txBody>
          </p:sp>
        </p:grpSp>
      </p:grpSp>
      <p:sp>
        <p:nvSpPr>
          <p:cNvPr id="20" name="文本框 19"/>
          <p:cNvSpPr txBox="1"/>
          <p:nvPr/>
        </p:nvSpPr>
        <p:spPr>
          <a:xfrm>
            <a:off x="1042035" y="1539875"/>
            <a:ext cx="7360920" cy="2686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600" dirty="0" smtClean="0"/>
              <a:t>融合的各个模型之间尽可能好而不同</a:t>
            </a:r>
            <a:endParaRPr lang="zh-CN" altLang="en-US" sz="1600" dirty="0" smtClean="0"/>
          </a:p>
        </p:txBody>
      </p:sp>
      <p:sp>
        <p:nvSpPr>
          <p:cNvPr id="21" name="文本框 20"/>
          <p:cNvSpPr txBox="1"/>
          <p:nvPr/>
        </p:nvSpPr>
        <p:spPr>
          <a:xfrm>
            <a:off x="1166495" y="1869440"/>
            <a:ext cx="7360920" cy="2686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“</a:t>
            </a:r>
            <a:r>
              <a:rPr lang="zh-CN" altLang="en-US" sz="1600" b="1" dirty="0" smtClean="0">
                <a:solidFill>
                  <a:srgbClr val="F05A23"/>
                </a:solidFill>
              </a:rPr>
              <a:t>好</a:t>
            </a:r>
            <a:r>
              <a:rPr lang="en-US" altLang="zh-CN" sz="1600" dirty="0" smtClean="0"/>
              <a:t>”</a:t>
            </a:r>
            <a:r>
              <a:rPr lang="zh-CN" altLang="en-US" sz="1600" dirty="0" smtClean="0"/>
              <a:t>：当个模型效果尽可能好</a:t>
            </a:r>
            <a:endParaRPr lang="zh-CN" altLang="en-US" sz="1600" dirty="0" smtClean="0"/>
          </a:p>
        </p:txBody>
      </p:sp>
      <p:sp>
        <p:nvSpPr>
          <p:cNvPr id="26" name="文本框 25"/>
          <p:cNvSpPr txBox="1"/>
          <p:nvPr/>
        </p:nvSpPr>
        <p:spPr>
          <a:xfrm>
            <a:off x="1166495" y="2204720"/>
            <a:ext cx="7360920" cy="2686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“</a:t>
            </a:r>
            <a:r>
              <a:rPr lang="zh-CN" altLang="en-US" sz="1600" b="1" dirty="0" smtClean="0">
                <a:solidFill>
                  <a:srgbClr val="F05A23"/>
                </a:solidFill>
              </a:rPr>
              <a:t>不同</a:t>
            </a:r>
            <a:r>
              <a:rPr lang="en-US" altLang="zh-CN" sz="1600" dirty="0" smtClean="0"/>
              <a:t>”</a:t>
            </a:r>
            <a:r>
              <a:rPr lang="zh-CN" altLang="en-US" sz="1600" dirty="0" smtClean="0"/>
              <a:t>：主要体现在以下</a:t>
            </a:r>
            <a:r>
              <a:rPr lang="en-US" altLang="zh-CN" sz="1600" b="1" dirty="0" smtClean="0">
                <a:solidFill>
                  <a:srgbClr val="F05A23"/>
                </a:solidFill>
              </a:rPr>
              <a:t>3</a:t>
            </a:r>
            <a:r>
              <a:rPr lang="zh-CN" altLang="en-US" sz="1600" dirty="0" smtClean="0"/>
              <a:t>点：</a:t>
            </a:r>
            <a:endParaRPr lang="zh-CN" altLang="en-US" sz="1600" dirty="0" smtClean="0"/>
          </a:p>
        </p:txBody>
      </p:sp>
      <p:sp>
        <p:nvSpPr>
          <p:cNvPr id="257" name="Freeform 131"/>
          <p:cNvSpPr>
            <a:spLocks noEditPoints="1"/>
          </p:cNvSpPr>
          <p:nvPr/>
        </p:nvSpPr>
        <p:spPr bwMode="auto">
          <a:xfrm>
            <a:off x="520700" y="1099820"/>
            <a:ext cx="417830" cy="415290"/>
          </a:xfrm>
          <a:custGeom>
            <a:avLst/>
            <a:gdLst>
              <a:gd name="T0" fmla="*/ 20 w 106"/>
              <a:gd name="T1" fmla="*/ 53 h 105"/>
              <a:gd name="T2" fmla="*/ 20 w 106"/>
              <a:gd name="T3" fmla="*/ 49 h 105"/>
              <a:gd name="T4" fmla="*/ 1 w 106"/>
              <a:gd name="T5" fmla="*/ 43 h 105"/>
              <a:gd name="T6" fmla="*/ 0 w 106"/>
              <a:gd name="T7" fmla="*/ 53 h 105"/>
              <a:gd name="T8" fmla="*/ 17 w 106"/>
              <a:gd name="T9" fmla="*/ 91 h 105"/>
              <a:gd name="T10" fmla="*/ 29 w 106"/>
              <a:gd name="T11" fmla="*/ 75 h 105"/>
              <a:gd name="T12" fmla="*/ 20 w 106"/>
              <a:gd name="T13" fmla="*/ 53 h 105"/>
              <a:gd name="T14" fmla="*/ 86 w 106"/>
              <a:gd name="T15" fmla="*/ 53 h 105"/>
              <a:gd name="T16" fmla="*/ 77 w 106"/>
              <a:gd name="T17" fmla="*/ 75 h 105"/>
              <a:gd name="T18" fmla="*/ 89 w 106"/>
              <a:gd name="T19" fmla="*/ 91 h 105"/>
              <a:gd name="T20" fmla="*/ 106 w 106"/>
              <a:gd name="T21" fmla="*/ 53 h 105"/>
              <a:gd name="T22" fmla="*/ 105 w 106"/>
              <a:gd name="T23" fmla="*/ 43 h 105"/>
              <a:gd name="T24" fmla="*/ 86 w 106"/>
              <a:gd name="T25" fmla="*/ 49 h 105"/>
              <a:gd name="T26" fmla="*/ 86 w 106"/>
              <a:gd name="T27" fmla="*/ 53 h 105"/>
              <a:gd name="T28" fmla="*/ 59 w 106"/>
              <a:gd name="T29" fmla="*/ 20 h 105"/>
              <a:gd name="T30" fmla="*/ 82 w 106"/>
              <a:gd name="T31" fmla="*/ 36 h 105"/>
              <a:gd name="T32" fmla="*/ 101 w 106"/>
              <a:gd name="T33" fmla="*/ 30 h 105"/>
              <a:gd name="T34" fmla="*/ 59 w 106"/>
              <a:gd name="T35" fmla="*/ 0 h 105"/>
              <a:gd name="T36" fmla="*/ 59 w 106"/>
              <a:gd name="T37" fmla="*/ 20 h 105"/>
              <a:gd name="T38" fmla="*/ 24 w 106"/>
              <a:gd name="T39" fmla="*/ 36 h 105"/>
              <a:gd name="T40" fmla="*/ 46 w 106"/>
              <a:gd name="T41" fmla="*/ 20 h 105"/>
              <a:gd name="T42" fmla="*/ 46 w 106"/>
              <a:gd name="T43" fmla="*/ 0 h 105"/>
              <a:gd name="T44" fmla="*/ 5 w 106"/>
              <a:gd name="T45" fmla="*/ 30 h 105"/>
              <a:gd name="T46" fmla="*/ 24 w 106"/>
              <a:gd name="T47" fmla="*/ 36 h 105"/>
              <a:gd name="T48" fmla="*/ 67 w 106"/>
              <a:gd name="T49" fmla="*/ 83 h 105"/>
              <a:gd name="T50" fmla="*/ 53 w 106"/>
              <a:gd name="T51" fmla="*/ 85 h 105"/>
              <a:gd name="T52" fmla="*/ 39 w 106"/>
              <a:gd name="T53" fmla="*/ 83 h 105"/>
              <a:gd name="T54" fmla="*/ 28 w 106"/>
              <a:gd name="T55" fmla="*/ 99 h 105"/>
              <a:gd name="T56" fmla="*/ 53 w 106"/>
              <a:gd name="T57" fmla="*/ 105 h 105"/>
              <a:gd name="T58" fmla="*/ 78 w 106"/>
              <a:gd name="T59" fmla="*/ 99 h 105"/>
              <a:gd name="T60" fmla="*/ 67 w 106"/>
              <a:gd name="T61" fmla="*/ 83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6" h="105">
                <a:moveTo>
                  <a:pt x="20" y="53"/>
                </a:moveTo>
                <a:cubicBezTo>
                  <a:pt x="20" y="51"/>
                  <a:pt x="20" y="50"/>
                  <a:pt x="20" y="49"/>
                </a:cubicBezTo>
                <a:cubicBezTo>
                  <a:pt x="1" y="43"/>
                  <a:pt x="1" y="43"/>
                  <a:pt x="1" y="43"/>
                </a:cubicBezTo>
                <a:cubicBezTo>
                  <a:pt x="1" y="46"/>
                  <a:pt x="0" y="49"/>
                  <a:pt x="0" y="53"/>
                </a:cubicBezTo>
                <a:cubicBezTo>
                  <a:pt x="0" y="68"/>
                  <a:pt x="7" y="81"/>
                  <a:pt x="17" y="91"/>
                </a:cubicBezTo>
                <a:cubicBezTo>
                  <a:pt x="29" y="75"/>
                  <a:pt x="29" y="75"/>
                  <a:pt x="29" y="75"/>
                </a:cubicBezTo>
                <a:cubicBezTo>
                  <a:pt x="23" y="69"/>
                  <a:pt x="20" y="61"/>
                  <a:pt x="20" y="53"/>
                </a:cubicBezTo>
                <a:close/>
                <a:moveTo>
                  <a:pt x="86" y="53"/>
                </a:moveTo>
                <a:cubicBezTo>
                  <a:pt x="86" y="61"/>
                  <a:pt x="83" y="69"/>
                  <a:pt x="77" y="75"/>
                </a:cubicBezTo>
                <a:cubicBezTo>
                  <a:pt x="89" y="91"/>
                  <a:pt x="89" y="91"/>
                  <a:pt x="89" y="91"/>
                </a:cubicBezTo>
                <a:cubicBezTo>
                  <a:pt x="99" y="81"/>
                  <a:pt x="106" y="68"/>
                  <a:pt x="106" y="53"/>
                </a:cubicBezTo>
                <a:cubicBezTo>
                  <a:pt x="106" y="49"/>
                  <a:pt x="105" y="46"/>
                  <a:pt x="105" y="43"/>
                </a:cubicBezTo>
                <a:cubicBezTo>
                  <a:pt x="86" y="49"/>
                  <a:pt x="86" y="49"/>
                  <a:pt x="86" y="49"/>
                </a:cubicBezTo>
                <a:cubicBezTo>
                  <a:pt x="86" y="50"/>
                  <a:pt x="86" y="51"/>
                  <a:pt x="86" y="53"/>
                </a:cubicBezTo>
                <a:close/>
                <a:moveTo>
                  <a:pt x="59" y="20"/>
                </a:moveTo>
                <a:cubicBezTo>
                  <a:pt x="69" y="22"/>
                  <a:pt x="77" y="28"/>
                  <a:pt x="82" y="36"/>
                </a:cubicBezTo>
                <a:cubicBezTo>
                  <a:pt x="101" y="30"/>
                  <a:pt x="101" y="30"/>
                  <a:pt x="101" y="30"/>
                </a:cubicBezTo>
                <a:cubicBezTo>
                  <a:pt x="93" y="14"/>
                  <a:pt x="78" y="3"/>
                  <a:pt x="59" y="0"/>
                </a:cubicBezTo>
                <a:lnTo>
                  <a:pt x="59" y="20"/>
                </a:lnTo>
                <a:close/>
                <a:moveTo>
                  <a:pt x="24" y="36"/>
                </a:moveTo>
                <a:cubicBezTo>
                  <a:pt x="29" y="28"/>
                  <a:pt x="37" y="22"/>
                  <a:pt x="46" y="20"/>
                </a:cubicBezTo>
                <a:cubicBezTo>
                  <a:pt x="46" y="0"/>
                  <a:pt x="46" y="0"/>
                  <a:pt x="46" y="0"/>
                </a:cubicBezTo>
                <a:cubicBezTo>
                  <a:pt x="28" y="3"/>
                  <a:pt x="13" y="14"/>
                  <a:pt x="5" y="30"/>
                </a:cubicBezTo>
                <a:lnTo>
                  <a:pt x="24" y="36"/>
                </a:lnTo>
                <a:close/>
                <a:moveTo>
                  <a:pt x="67" y="83"/>
                </a:moveTo>
                <a:cubicBezTo>
                  <a:pt x="62" y="84"/>
                  <a:pt x="58" y="85"/>
                  <a:pt x="53" y="85"/>
                </a:cubicBezTo>
                <a:cubicBezTo>
                  <a:pt x="48" y="85"/>
                  <a:pt x="43" y="84"/>
                  <a:pt x="39" y="83"/>
                </a:cubicBezTo>
                <a:cubicBezTo>
                  <a:pt x="28" y="99"/>
                  <a:pt x="28" y="99"/>
                  <a:pt x="28" y="99"/>
                </a:cubicBezTo>
                <a:cubicBezTo>
                  <a:pt x="35" y="103"/>
                  <a:pt x="44" y="105"/>
                  <a:pt x="53" y="105"/>
                </a:cubicBezTo>
                <a:cubicBezTo>
                  <a:pt x="62" y="105"/>
                  <a:pt x="71" y="103"/>
                  <a:pt x="78" y="99"/>
                </a:cubicBezTo>
                <a:lnTo>
                  <a:pt x="67" y="8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id-ID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>
                <a:solidFill>
                  <a:prstClr val="black">
                    <a:lumMod val="85000"/>
                    <a:lumOff val="15000"/>
                  </a:prstClr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+mn-ea"/>
                <a:sym typeface="+mn-lt"/>
              </a:rPr>
              <a:t>自我介绍</a:t>
            </a:r>
            <a:endParaRPr lang="zh-CN" altLang="en-US" sz="2800" b="1">
              <a:solidFill>
                <a:prstClr val="black">
                  <a:lumMod val="85000"/>
                  <a:lumOff val="15000"/>
                </a:prstClr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n-ea"/>
              <a:sym typeface="+mn-lt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C913308-F349-4B6D-A68A-DD1791B4A57B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3766820" y="965200"/>
            <a:ext cx="3954780" cy="5751195"/>
            <a:chOff x="5932" y="1481"/>
            <a:chExt cx="6228" cy="9057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5932" y="1481"/>
              <a:ext cx="6229" cy="9057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9836" y="3471"/>
              <a:ext cx="1029" cy="872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rtlCol="0" anchor="t" anchorCtr="0" compatLnSpc="1"/>
            <a:p>
              <a:endParaRPr lang="zh-CN" altLang="en-US"/>
            </a:p>
          </p:txBody>
        </p:sp>
        <p:sp>
          <p:nvSpPr>
            <p:cNvPr id="7" name="矩形 6"/>
            <p:cNvSpPr/>
            <p:nvPr/>
          </p:nvSpPr>
          <p:spPr>
            <a:xfrm>
              <a:off x="11132" y="9666"/>
              <a:ext cx="1029" cy="872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rtlCol="0" anchor="t" anchorCtr="0" compatLnSpc="1"/>
            <a:p>
              <a:endParaRPr lang="zh-CN" altLang="en-US"/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三：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融合模型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比赛王道之选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模型融合的问题</a:t>
            </a:r>
            <a:endParaRPr lang="zh-CN" altLang="en-US" sz="1800" dirty="0" smtClean="0"/>
          </a:p>
        </p:txBody>
      </p:sp>
      <p:sp>
        <p:nvSpPr>
          <p:cNvPr id="6" name="文本框 5"/>
          <p:cNvSpPr txBox="1"/>
          <p:nvPr/>
        </p:nvSpPr>
        <p:spPr>
          <a:xfrm>
            <a:off x="1216660" y="1664970"/>
            <a:ext cx="6220460" cy="44005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altLang="en-US" sz="1600" dirty="0" smtClean="0"/>
              <a:t>适合在</a:t>
            </a:r>
            <a:r>
              <a:rPr lang="zh-CN" altLang="en-US" sz="1600" b="1" dirty="0" smtClean="0">
                <a:solidFill>
                  <a:srgbClr val="F05A23"/>
                </a:solidFill>
              </a:rPr>
              <a:t>比赛</a:t>
            </a:r>
            <a:r>
              <a:rPr lang="zh-CN" altLang="en-US" sz="1600" dirty="0" smtClean="0"/>
              <a:t>中，能有效提升成绩（</a:t>
            </a:r>
            <a:r>
              <a:rPr lang="en-US" altLang="zh-CN" sz="1600" dirty="0" smtClean="0"/>
              <a:t>kaggle</a:t>
            </a:r>
            <a:r>
              <a:rPr lang="zh-CN" altLang="en-US" sz="1600" dirty="0" smtClean="0"/>
              <a:t>有多个成功案例）</a:t>
            </a:r>
            <a:endParaRPr lang="zh-CN" altLang="en-US" sz="1600" dirty="0" smtClean="0"/>
          </a:p>
        </p:txBody>
      </p:sp>
      <p:sp>
        <p:nvSpPr>
          <p:cNvPr id="7" name="文本框 6"/>
          <p:cNvSpPr txBox="1"/>
          <p:nvPr/>
        </p:nvSpPr>
        <p:spPr>
          <a:xfrm>
            <a:off x="1216660" y="2270125"/>
            <a:ext cx="9353550" cy="74739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600" dirty="0" smtClean="0"/>
              <a:t>但在实际企业生产应用中，复杂融合因其复杂性对效率和性能都会有影响，一般会相对选择轻量级融合，比如：投票</a:t>
            </a:r>
            <a:endParaRPr lang="zh-CN" altLang="en-US" sz="1600" dirty="0" smtClean="0"/>
          </a:p>
        </p:txBody>
      </p:sp>
      <p:sp>
        <p:nvSpPr>
          <p:cNvPr id="257" name="Freeform 131"/>
          <p:cNvSpPr>
            <a:spLocks noEditPoints="1"/>
          </p:cNvSpPr>
          <p:nvPr/>
        </p:nvSpPr>
        <p:spPr bwMode="auto">
          <a:xfrm>
            <a:off x="520700" y="1099820"/>
            <a:ext cx="417830" cy="415290"/>
          </a:xfrm>
          <a:custGeom>
            <a:avLst/>
            <a:gdLst>
              <a:gd name="T0" fmla="*/ 20 w 106"/>
              <a:gd name="T1" fmla="*/ 53 h 105"/>
              <a:gd name="T2" fmla="*/ 20 w 106"/>
              <a:gd name="T3" fmla="*/ 49 h 105"/>
              <a:gd name="T4" fmla="*/ 1 w 106"/>
              <a:gd name="T5" fmla="*/ 43 h 105"/>
              <a:gd name="T6" fmla="*/ 0 w 106"/>
              <a:gd name="T7" fmla="*/ 53 h 105"/>
              <a:gd name="T8" fmla="*/ 17 w 106"/>
              <a:gd name="T9" fmla="*/ 91 h 105"/>
              <a:gd name="T10" fmla="*/ 29 w 106"/>
              <a:gd name="T11" fmla="*/ 75 h 105"/>
              <a:gd name="T12" fmla="*/ 20 w 106"/>
              <a:gd name="T13" fmla="*/ 53 h 105"/>
              <a:gd name="T14" fmla="*/ 86 w 106"/>
              <a:gd name="T15" fmla="*/ 53 h 105"/>
              <a:gd name="T16" fmla="*/ 77 w 106"/>
              <a:gd name="T17" fmla="*/ 75 h 105"/>
              <a:gd name="T18" fmla="*/ 89 w 106"/>
              <a:gd name="T19" fmla="*/ 91 h 105"/>
              <a:gd name="T20" fmla="*/ 106 w 106"/>
              <a:gd name="T21" fmla="*/ 53 h 105"/>
              <a:gd name="T22" fmla="*/ 105 w 106"/>
              <a:gd name="T23" fmla="*/ 43 h 105"/>
              <a:gd name="T24" fmla="*/ 86 w 106"/>
              <a:gd name="T25" fmla="*/ 49 h 105"/>
              <a:gd name="T26" fmla="*/ 86 w 106"/>
              <a:gd name="T27" fmla="*/ 53 h 105"/>
              <a:gd name="T28" fmla="*/ 59 w 106"/>
              <a:gd name="T29" fmla="*/ 20 h 105"/>
              <a:gd name="T30" fmla="*/ 82 w 106"/>
              <a:gd name="T31" fmla="*/ 36 h 105"/>
              <a:gd name="T32" fmla="*/ 101 w 106"/>
              <a:gd name="T33" fmla="*/ 30 h 105"/>
              <a:gd name="T34" fmla="*/ 59 w 106"/>
              <a:gd name="T35" fmla="*/ 0 h 105"/>
              <a:gd name="T36" fmla="*/ 59 w 106"/>
              <a:gd name="T37" fmla="*/ 20 h 105"/>
              <a:gd name="T38" fmla="*/ 24 w 106"/>
              <a:gd name="T39" fmla="*/ 36 h 105"/>
              <a:gd name="T40" fmla="*/ 46 w 106"/>
              <a:gd name="T41" fmla="*/ 20 h 105"/>
              <a:gd name="T42" fmla="*/ 46 w 106"/>
              <a:gd name="T43" fmla="*/ 0 h 105"/>
              <a:gd name="T44" fmla="*/ 5 w 106"/>
              <a:gd name="T45" fmla="*/ 30 h 105"/>
              <a:gd name="T46" fmla="*/ 24 w 106"/>
              <a:gd name="T47" fmla="*/ 36 h 105"/>
              <a:gd name="T48" fmla="*/ 67 w 106"/>
              <a:gd name="T49" fmla="*/ 83 h 105"/>
              <a:gd name="T50" fmla="*/ 53 w 106"/>
              <a:gd name="T51" fmla="*/ 85 h 105"/>
              <a:gd name="T52" fmla="*/ 39 w 106"/>
              <a:gd name="T53" fmla="*/ 83 h 105"/>
              <a:gd name="T54" fmla="*/ 28 w 106"/>
              <a:gd name="T55" fmla="*/ 99 h 105"/>
              <a:gd name="T56" fmla="*/ 53 w 106"/>
              <a:gd name="T57" fmla="*/ 105 h 105"/>
              <a:gd name="T58" fmla="*/ 78 w 106"/>
              <a:gd name="T59" fmla="*/ 99 h 105"/>
              <a:gd name="T60" fmla="*/ 67 w 106"/>
              <a:gd name="T61" fmla="*/ 83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6" h="105">
                <a:moveTo>
                  <a:pt x="20" y="53"/>
                </a:moveTo>
                <a:cubicBezTo>
                  <a:pt x="20" y="51"/>
                  <a:pt x="20" y="50"/>
                  <a:pt x="20" y="49"/>
                </a:cubicBezTo>
                <a:cubicBezTo>
                  <a:pt x="1" y="43"/>
                  <a:pt x="1" y="43"/>
                  <a:pt x="1" y="43"/>
                </a:cubicBezTo>
                <a:cubicBezTo>
                  <a:pt x="1" y="46"/>
                  <a:pt x="0" y="49"/>
                  <a:pt x="0" y="53"/>
                </a:cubicBezTo>
                <a:cubicBezTo>
                  <a:pt x="0" y="68"/>
                  <a:pt x="7" y="81"/>
                  <a:pt x="17" y="91"/>
                </a:cubicBezTo>
                <a:cubicBezTo>
                  <a:pt x="29" y="75"/>
                  <a:pt x="29" y="75"/>
                  <a:pt x="29" y="75"/>
                </a:cubicBezTo>
                <a:cubicBezTo>
                  <a:pt x="23" y="69"/>
                  <a:pt x="20" y="61"/>
                  <a:pt x="20" y="53"/>
                </a:cubicBezTo>
                <a:close/>
                <a:moveTo>
                  <a:pt x="86" y="53"/>
                </a:moveTo>
                <a:cubicBezTo>
                  <a:pt x="86" y="61"/>
                  <a:pt x="83" y="69"/>
                  <a:pt x="77" y="75"/>
                </a:cubicBezTo>
                <a:cubicBezTo>
                  <a:pt x="89" y="91"/>
                  <a:pt x="89" y="91"/>
                  <a:pt x="89" y="91"/>
                </a:cubicBezTo>
                <a:cubicBezTo>
                  <a:pt x="99" y="81"/>
                  <a:pt x="106" y="68"/>
                  <a:pt x="106" y="53"/>
                </a:cubicBezTo>
                <a:cubicBezTo>
                  <a:pt x="106" y="49"/>
                  <a:pt x="105" y="46"/>
                  <a:pt x="105" y="43"/>
                </a:cubicBezTo>
                <a:cubicBezTo>
                  <a:pt x="86" y="49"/>
                  <a:pt x="86" y="49"/>
                  <a:pt x="86" y="49"/>
                </a:cubicBezTo>
                <a:cubicBezTo>
                  <a:pt x="86" y="50"/>
                  <a:pt x="86" y="51"/>
                  <a:pt x="86" y="53"/>
                </a:cubicBezTo>
                <a:close/>
                <a:moveTo>
                  <a:pt x="59" y="20"/>
                </a:moveTo>
                <a:cubicBezTo>
                  <a:pt x="69" y="22"/>
                  <a:pt x="77" y="28"/>
                  <a:pt x="82" y="36"/>
                </a:cubicBezTo>
                <a:cubicBezTo>
                  <a:pt x="101" y="30"/>
                  <a:pt x="101" y="30"/>
                  <a:pt x="101" y="30"/>
                </a:cubicBezTo>
                <a:cubicBezTo>
                  <a:pt x="93" y="14"/>
                  <a:pt x="78" y="3"/>
                  <a:pt x="59" y="0"/>
                </a:cubicBezTo>
                <a:lnTo>
                  <a:pt x="59" y="20"/>
                </a:lnTo>
                <a:close/>
                <a:moveTo>
                  <a:pt x="24" y="36"/>
                </a:moveTo>
                <a:cubicBezTo>
                  <a:pt x="29" y="28"/>
                  <a:pt x="37" y="22"/>
                  <a:pt x="46" y="20"/>
                </a:cubicBezTo>
                <a:cubicBezTo>
                  <a:pt x="46" y="0"/>
                  <a:pt x="46" y="0"/>
                  <a:pt x="46" y="0"/>
                </a:cubicBezTo>
                <a:cubicBezTo>
                  <a:pt x="28" y="3"/>
                  <a:pt x="13" y="14"/>
                  <a:pt x="5" y="30"/>
                </a:cubicBezTo>
                <a:lnTo>
                  <a:pt x="24" y="36"/>
                </a:lnTo>
                <a:close/>
                <a:moveTo>
                  <a:pt x="67" y="83"/>
                </a:moveTo>
                <a:cubicBezTo>
                  <a:pt x="62" y="84"/>
                  <a:pt x="58" y="85"/>
                  <a:pt x="53" y="85"/>
                </a:cubicBezTo>
                <a:cubicBezTo>
                  <a:pt x="48" y="85"/>
                  <a:pt x="43" y="84"/>
                  <a:pt x="39" y="83"/>
                </a:cubicBezTo>
                <a:cubicBezTo>
                  <a:pt x="28" y="99"/>
                  <a:pt x="28" y="99"/>
                  <a:pt x="28" y="99"/>
                </a:cubicBezTo>
                <a:cubicBezTo>
                  <a:pt x="35" y="103"/>
                  <a:pt x="44" y="105"/>
                  <a:pt x="53" y="105"/>
                </a:cubicBezTo>
                <a:cubicBezTo>
                  <a:pt x="62" y="105"/>
                  <a:pt x="71" y="103"/>
                  <a:pt x="78" y="99"/>
                </a:cubicBezTo>
                <a:lnTo>
                  <a:pt x="67" y="8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id-ID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四：觅迹同源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相似样本寻觅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怎么寻找相似样本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7" name="椭圆 6"/>
          <p:cNvSpPr/>
          <p:nvPr/>
        </p:nvSpPr>
        <p:spPr>
          <a:xfrm>
            <a:off x="1168400" y="2298065"/>
            <a:ext cx="3191510" cy="3191510"/>
          </a:xfrm>
          <a:prstGeom prst="ellipse">
            <a:avLst/>
          </a:prstGeom>
          <a:noFill/>
          <a:ln w="0">
            <a:solidFill>
              <a:srgbClr val="F05A23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05A23"/>
                </a:solidFill>
              </a14:hiddenFill>
            </a:ext>
          </a:extLst>
        </p:spPr>
        <p:txBody>
          <a:bodyPr vert="horz" wrap="square" lIns="91440" tIns="45720" rIns="91440" bIns="45720" numCol="1" rtlCol="0" anchor="ctr" anchorCtr="0" compatLnSpc="1"/>
          <a:p>
            <a:pPr algn="ctr"/>
            <a:r>
              <a:rPr lang="zh-CN" altLang="en-US" sz="8000">
                <a:solidFill>
                  <a:schemeClr val="tx1"/>
                </a:solidFill>
              </a:rPr>
              <a:t>同源</a:t>
            </a:r>
            <a:endParaRPr lang="zh-CN" altLang="en-US" sz="8000">
              <a:solidFill>
                <a:schemeClr val="tx1"/>
              </a:solidFill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174615" y="2821305"/>
            <a:ext cx="4064000" cy="46228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None/>
            </a:pPr>
            <a:r>
              <a:rPr lang="zh-CN" altLang="en-US" dirty="0" smtClean="0">
                <a:sym typeface="+mn-ea"/>
              </a:rPr>
              <a:t>搜索、浏览、购买</a:t>
            </a:r>
            <a:endParaRPr lang="zh-CN" altLang="en-US" sz="1800" dirty="0" smtClean="0"/>
          </a:p>
        </p:txBody>
      </p:sp>
      <p:sp>
        <p:nvSpPr>
          <p:cNvPr id="9" name="文本框 8"/>
          <p:cNvSpPr txBox="1"/>
          <p:nvPr/>
        </p:nvSpPr>
        <p:spPr>
          <a:xfrm>
            <a:off x="5174615" y="2389505"/>
            <a:ext cx="4064000" cy="42926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800" dirty="0" smtClean="0"/>
              <a:t>流程</a:t>
            </a:r>
            <a:r>
              <a:rPr lang="zh-CN" altLang="en-US" sz="1800" b="1" dirty="0" smtClean="0"/>
              <a:t>上下游</a:t>
            </a:r>
            <a:r>
              <a:rPr lang="zh-CN" altLang="en-US" sz="1800" dirty="0" smtClean="0"/>
              <a:t>，</a:t>
            </a:r>
            <a:r>
              <a:rPr lang="zh-CN" altLang="en-US" dirty="0" smtClean="0">
                <a:sym typeface="+mn-ea"/>
              </a:rPr>
              <a:t>往上游延伸</a:t>
            </a:r>
            <a:r>
              <a:rPr lang="zh-CN" altLang="en-US" sz="1800" dirty="0" smtClean="0"/>
              <a:t>：</a:t>
            </a:r>
            <a:endParaRPr lang="zh-CN" altLang="en-US" sz="1800" dirty="0" smtClean="0"/>
          </a:p>
        </p:txBody>
      </p:sp>
      <p:sp>
        <p:nvSpPr>
          <p:cNvPr id="10" name="文本框 9"/>
          <p:cNvSpPr txBox="1"/>
          <p:nvPr/>
        </p:nvSpPr>
        <p:spPr>
          <a:xfrm>
            <a:off x="5174615" y="3444875"/>
            <a:ext cx="4064000" cy="42926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800" dirty="0" smtClean="0"/>
              <a:t>业务</a:t>
            </a:r>
            <a:r>
              <a:rPr lang="zh-CN" altLang="en-US" sz="1800" b="1" dirty="0" smtClean="0"/>
              <a:t>行为相似</a:t>
            </a:r>
            <a:r>
              <a:rPr lang="zh-CN" altLang="en-US" dirty="0" smtClean="0">
                <a:sym typeface="+mn-ea"/>
              </a:rPr>
              <a:t>延伸</a:t>
            </a:r>
            <a:r>
              <a:rPr lang="zh-CN" altLang="en-US" sz="1800" dirty="0" smtClean="0"/>
              <a:t>：</a:t>
            </a:r>
            <a:endParaRPr lang="zh-CN" altLang="en-US" sz="1800" dirty="0" smtClean="0"/>
          </a:p>
        </p:txBody>
      </p:sp>
      <p:sp>
        <p:nvSpPr>
          <p:cNvPr id="11" name="文本框 10"/>
          <p:cNvSpPr txBox="1"/>
          <p:nvPr/>
        </p:nvSpPr>
        <p:spPr>
          <a:xfrm>
            <a:off x="5174615" y="3874135"/>
            <a:ext cx="4064000" cy="46228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None/>
            </a:pPr>
            <a:r>
              <a:rPr lang="zh-CN" altLang="en-US" dirty="0" smtClean="0">
                <a:sym typeface="+mn-ea"/>
              </a:rPr>
              <a:t>保全场景的冒办、代理、盗号</a:t>
            </a:r>
            <a:endParaRPr lang="zh-CN" altLang="en-US" sz="1800" dirty="0" smtClean="0"/>
          </a:p>
        </p:txBody>
      </p:sp>
      <p:sp>
        <p:nvSpPr>
          <p:cNvPr id="12" name="文本框 11"/>
          <p:cNvSpPr txBox="1"/>
          <p:nvPr/>
        </p:nvSpPr>
        <p:spPr>
          <a:xfrm>
            <a:off x="5174615" y="4547235"/>
            <a:ext cx="4064000" cy="42926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800" dirty="0" smtClean="0"/>
              <a:t>上面两种方式的</a:t>
            </a:r>
            <a:r>
              <a:rPr lang="zh-CN" altLang="en-US" sz="1800" b="1" dirty="0" smtClean="0"/>
              <a:t>混合</a:t>
            </a:r>
            <a:r>
              <a:rPr lang="zh-CN" altLang="en-US" sz="1800" dirty="0" smtClean="0"/>
              <a:t>：</a:t>
            </a:r>
            <a:endParaRPr lang="zh-CN" altLang="en-US" sz="1800" dirty="0" smtClean="0"/>
          </a:p>
        </p:txBody>
      </p:sp>
      <p:sp>
        <p:nvSpPr>
          <p:cNvPr id="13" name="文本框 12"/>
          <p:cNvSpPr txBox="1"/>
          <p:nvPr/>
        </p:nvSpPr>
        <p:spPr>
          <a:xfrm>
            <a:off x="5174615" y="4976495"/>
            <a:ext cx="4676775" cy="46228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None/>
            </a:pPr>
            <a:r>
              <a:rPr lang="zh-CN" altLang="en-US" dirty="0" smtClean="0">
                <a:sym typeface="+mn-ea"/>
              </a:rPr>
              <a:t>投诉场景内部投诉、监管投诉、通报件</a:t>
            </a:r>
            <a:endParaRPr lang="zh-CN" altLang="en-US" dirty="0" smtClean="0"/>
          </a:p>
          <a:p>
            <a:pPr marL="106045" indent="0">
              <a:buNone/>
            </a:pPr>
            <a:endParaRPr lang="zh-CN" altLang="en-US" dirty="0" smtClean="0"/>
          </a:p>
          <a:p>
            <a:pPr marL="106045" indent="0">
              <a:buNone/>
            </a:pPr>
            <a:endParaRPr lang="zh-CN" altLang="en-US" sz="1800" dirty="0" smtClean="0"/>
          </a:p>
        </p:txBody>
      </p:sp>
      <p:grpSp>
        <p:nvGrpSpPr>
          <p:cNvPr id="476" name="组合 475"/>
          <p:cNvGrpSpPr/>
          <p:nvPr/>
        </p:nvGrpSpPr>
        <p:grpSpPr>
          <a:xfrm>
            <a:off x="4636306" y="2445451"/>
            <a:ext cx="440742" cy="316802"/>
            <a:chOff x="7147096" y="3786571"/>
            <a:chExt cx="440742" cy="316802"/>
          </a:xfrm>
        </p:grpSpPr>
        <p:sp>
          <p:nvSpPr>
            <p:cNvPr id="269" name="Freeform 64"/>
            <p:cNvSpPr/>
            <p:nvPr/>
          </p:nvSpPr>
          <p:spPr bwMode="auto">
            <a:xfrm>
              <a:off x="7251689" y="4019336"/>
              <a:ext cx="231556" cy="65295"/>
            </a:xfrm>
            <a:custGeom>
              <a:avLst/>
              <a:gdLst>
                <a:gd name="T0" fmla="*/ 237 w 1916"/>
                <a:gd name="T1" fmla="*/ 0 h 542"/>
                <a:gd name="T2" fmla="*/ 300 w 1916"/>
                <a:gd name="T3" fmla="*/ 46 h 542"/>
                <a:gd name="T4" fmla="*/ 365 w 1916"/>
                <a:gd name="T5" fmla="*/ 88 h 542"/>
                <a:gd name="T6" fmla="*/ 432 w 1916"/>
                <a:gd name="T7" fmla="*/ 124 h 542"/>
                <a:gd name="T8" fmla="*/ 502 w 1916"/>
                <a:gd name="T9" fmla="*/ 157 h 542"/>
                <a:gd name="T10" fmla="*/ 574 w 1916"/>
                <a:gd name="T11" fmla="*/ 184 h 542"/>
                <a:gd name="T12" fmla="*/ 647 w 1916"/>
                <a:gd name="T13" fmla="*/ 207 h 542"/>
                <a:gd name="T14" fmla="*/ 722 w 1916"/>
                <a:gd name="T15" fmla="*/ 225 h 542"/>
                <a:gd name="T16" fmla="*/ 798 w 1916"/>
                <a:gd name="T17" fmla="*/ 238 h 542"/>
                <a:gd name="T18" fmla="*/ 877 w 1916"/>
                <a:gd name="T19" fmla="*/ 246 h 542"/>
                <a:gd name="T20" fmla="*/ 955 w 1916"/>
                <a:gd name="T21" fmla="*/ 248 h 542"/>
                <a:gd name="T22" fmla="*/ 1034 w 1916"/>
                <a:gd name="T23" fmla="*/ 246 h 542"/>
                <a:gd name="T24" fmla="*/ 1111 w 1916"/>
                <a:gd name="T25" fmla="*/ 238 h 542"/>
                <a:gd name="T26" fmla="*/ 1188 w 1916"/>
                <a:gd name="T27" fmla="*/ 225 h 542"/>
                <a:gd name="T28" fmla="*/ 1263 w 1916"/>
                <a:gd name="T29" fmla="*/ 206 h 542"/>
                <a:gd name="T30" fmla="*/ 1337 w 1916"/>
                <a:gd name="T31" fmla="*/ 184 h 542"/>
                <a:gd name="T32" fmla="*/ 1409 w 1916"/>
                <a:gd name="T33" fmla="*/ 157 h 542"/>
                <a:gd name="T34" fmla="*/ 1480 w 1916"/>
                <a:gd name="T35" fmla="*/ 123 h 542"/>
                <a:gd name="T36" fmla="*/ 1547 w 1916"/>
                <a:gd name="T37" fmla="*/ 87 h 542"/>
                <a:gd name="T38" fmla="*/ 1584 w 1916"/>
                <a:gd name="T39" fmla="*/ 122 h 542"/>
                <a:gd name="T40" fmla="*/ 1635 w 1916"/>
                <a:gd name="T41" fmla="*/ 172 h 542"/>
                <a:gd name="T42" fmla="*/ 1916 w 1916"/>
                <a:gd name="T43" fmla="*/ 454 h 542"/>
                <a:gd name="T44" fmla="*/ 1916 w 1916"/>
                <a:gd name="T45" fmla="*/ 542 h 542"/>
                <a:gd name="T46" fmla="*/ 0 w 1916"/>
                <a:gd name="T47" fmla="*/ 542 h 542"/>
                <a:gd name="T48" fmla="*/ 0 w 1916"/>
                <a:gd name="T49" fmla="*/ 273 h 542"/>
                <a:gd name="T50" fmla="*/ 2 w 1916"/>
                <a:gd name="T51" fmla="*/ 245 h 542"/>
                <a:gd name="T52" fmla="*/ 9 w 1916"/>
                <a:gd name="T53" fmla="*/ 217 h 542"/>
                <a:gd name="T54" fmla="*/ 19 w 1916"/>
                <a:gd name="T55" fmla="*/ 192 h 542"/>
                <a:gd name="T56" fmla="*/ 32 w 1916"/>
                <a:gd name="T57" fmla="*/ 168 h 542"/>
                <a:gd name="T58" fmla="*/ 50 w 1916"/>
                <a:gd name="T59" fmla="*/ 145 h 542"/>
                <a:gd name="T60" fmla="*/ 70 w 1916"/>
                <a:gd name="T61" fmla="*/ 126 h 542"/>
                <a:gd name="T62" fmla="*/ 125 w 1916"/>
                <a:gd name="T63" fmla="*/ 81 h 542"/>
                <a:gd name="T64" fmla="*/ 181 w 1916"/>
                <a:gd name="T65" fmla="*/ 39 h 542"/>
                <a:gd name="T66" fmla="*/ 237 w 1916"/>
                <a:gd name="T6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6" h="542">
                  <a:moveTo>
                    <a:pt x="237" y="0"/>
                  </a:moveTo>
                  <a:lnTo>
                    <a:pt x="300" y="46"/>
                  </a:lnTo>
                  <a:lnTo>
                    <a:pt x="365" y="88"/>
                  </a:lnTo>
                  <a:lnTo>
                    <a:pt x="432" y="124"/>
                  </a:lnTo>
                  <a:lnTo>
                    <a:pt x="502" y="157"/>
                  </a:lnTo>
                  <a:lnTo>
                    <a:pt x="574" y="184"/>
                  </a:lnTo>
                  <a:lnTo>
                    <a:pt x="647" y="207"/>
                  </a:lnTo>
                  <a:lnTo>
                    <a:pt x="722" y="225"/>
                  </a:lnTo>
                  <a:lnTo>
                    <a:pt x="798" y="238"/>
                  </a:lnTo>
                  <a:lnTo>
                    <a:pt x="877" y="246"/>
                  </a:lnTo>
                  <a:lnTo>
                    <a:pt x="955" y="248"/>
                  </a:lnTo>
                  <a:lnTo>
                    <a:pt x="1034" y="246"/>
                  </a:lnTo>
                  <a:lnTo>
                    <a:pt x="1111" y="238"/>
                  </a:lnTo>
                  <a:lnTo>
                    <a:pt x="1188" y="225"/>
                  </a:lnTo>
                  <a:lnTo>
                    <a:pt x="1263" y="206"/>
                  </a:lnTo>
                  <a:lnTo>
                    <a:pt x="1337" y="184"/>
                  </a:lnTo>
                  <a:lnTo>
                    <a:pt x="1409" y="157"/>
                  </a:lnTo>
                  <a:lnTo>
                    <a:pt x="1480" y="123"/>
                  </a:lnTo>
                  <a:lnTo>
                    <a:pt x="1547" y="87"/>
                  </a:lnTo>
                  <a:lnTo>
                    <a:pt x="1584" y="122"/>
                  </a:lnTo>
                  <a:lnTo>
                    <a:pt x="1635" y="172"/>
                  </a:lnTo>
                  <a:lnTo>
                    <a:pt x="1916" y="454"/>
                  </a:lnTo>
                  <a:lnTo>
                    <a:pt x="1916" y="542"/>
                  </a:lnTo>
                  <a:lnTo>
                    <a:pt x="0" y="542"/>
                  </a:lnTo>
                  <a:lnTo>
                    <a:pt x="0" y="273"/>
                  </a:lnTo>
                  <a:lnTo>
                    <a:pt x="2" y="245"/>
                  </a:lnTo>
                  <a:lnTo>
                    <a:pt x="9" y="217"/>
                  </a:lnTo>
                  <a:lnTo>
                    <a:pt x="19" y="192"/>
                  </a:lnTo>
                  <a:lnTo>
                    <a:pt x="32" y="168"/>
                  </a:lnTo>
                  <a:lnTo>
                    <a:pt x="50" y="145"/>
                  </a:lnTo>
                  <a:lnTo>
                    <a:pt x="70" y="126"/>
                  </a:lnTo>
                  <a:lnTo>
                    <a:pt x="125" y="81"/>
                  </a:lnTo>
                  <a:lnTo>
                    <a:pt x="181" y="39"/>
                  </a:lnTo>
                  <a:lnTo>
                    <a:pt x="23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70" name="Freeform 65"/>
            <p:cNvSpPr/>
            <p:nvPr/>
          </p:nvSpPr>
          <p:spPr bwMode="auto">
            <a:xfrm>
              <a:off x="7319403" y="3834938"/>
              <a:ext cx="96129" cy="158401"/>
            </a:xfrm>
            <a:custGeom>
              <a:avLst/>
              <a:gdLst>
                <a:gd name="T0" fmla="*/ 355 w 794"/>
                <a:gd name="T1" fmla="*/ 0 h 1308"/>
                <a:gd name="T2" fmla="*/ 440 w 794"/>
                <a:gd name="T3" fmla="*/ 0 h 1308"/>
                <a:gd name="T4" fmla="*/ 487 w 794"/>
                <a:gd name="T5" fmla="*/ 3 h 1308"/>
                <a:gd name="T6" fmla="*/ 534 w 794"/>
                <a:gd name="T7" fmla="*/ 13 h 1308"/>
                <a:gd name="T8" fmla="*/ 578 w 794"/>
                <a:gd name="T9" fmla="*/ 28 h 1308"/>
                <a:gd name="T10" fmla="*/ 619 w 794"/>
                <a:gd name="T11" fmla="*/ 49 h 1308"/>
                <a:gd name="T12" fmla="*/ 657 w 794"/>
                <a:gd name="T13" fmla="*/ 74 h 1308"/>
                <a:gd name="T14" fmla="*/ 691 w 794"/>
                <a:gd name="T15" fmla="*/ 104 h 1308"/>
                <a:gd name="T16" fmla="*/ 721 w 794"/>
                <a:gd name="T17" fmla="*/ 138 h 1308"/>
                <a:gd name="T18" fmla="*/ 746 w 794"/>
                <a:gd name="T19" fmla="*/ 176 h 1308"/>
                <a:gd name="T20" fmla="*/ 766 w 794"/>
                <a:gd name="T21" fmla="*/ 217 h 1308"/>
                <a:gd name="T22" fmla="*/ 782 w 794"/>
                <a:gd name="T23" fmla="*/ 261 h 1308"/>
                <a:gd name="T24" fmla="*/ 790 w 794"/>
                <a:gd name="T25" fmla="*/ 307 h 1308"/>
                <a:gd name="T26" fmla="*/ 794 w 794"/>
                <a:gd name="T27" fmla="*/ 356 h 1308"/>
                <a:gd name="T28" fmla="*/ 794 w 794"/>
                <a:gd name="T29" fmla="*/ 749 h 1308"/>
                <a:gd name="T30" fmla="*/ 792 w 794"/>
                <a:gd name="T31" fmla="*/ 780 h 1308"/>
                <a:gd name="T32" fmla="*/ 784 w 794"/>
                <a:gd name="T33" fmla="*/ 807 h 1308"/>
                <a:gd name="T34" fmla="*/ 772 w 794"/>
                <a:gd name="T35" fmla="*/ 834 h 1308"/>
                <a:gd name="T36" fmla="*/ 756 w 794"/>
                <a:gd name="T37" fmla="*/ 858 h 1308"/>
                <a:gd name="T38" fmla="*/ 737 w 794"/>
                <a:gd name="T39" fmla="*/ 879 h 1308"/>
                <a:gd name="T40" fmla="*/ 714 w 794"/>
                <a:gd name="T41" fmla="*/ 897 h 1308"/>
                <a:gd name="T42" fmla="*/ 714 w 794"/>
                <a:gd name="T43" fmla="*/ 1231 h 1308"/>
                <a:gd name="T44" fmla="*/ 656 w 794"/>
                <a:gd name="T45" fmla="*/ 1258 h 1308"/>
                <a:gd name="T46" fmla="*/ 592 w 794"/>
                <a:gd name="T47" fmla="*/ 1279 h 1308"/>
                <a:gd name="T48" fmla="*/ 528 w 794"/>
                <a:gd name="T49" fmla="*/ 1296 h 1308"/>
                <a:gd name="T50" fmla="*/ 462 w 794"/>
                <a:gd name="T51" fmla="*/ 1305 h 1308"/>
                <a:gd name="T52" fmla="*/ 394 w 794"/>
                <a:gd name="T53" fmla="*/ 1308 h 1308"/>
                <a:gd name="T54" fmla="*/ 328 w 794"/>
                <a:gd name="T55" fmla="*/ 1305 h 1308"/>
                <a:gd name="T56" fmla="*/ 263 w 794"/>
                <a:gd name="T57" fmla="*/ 1296 h 1308"/>
                <a:gd name="T58" fmla="*/ 200 w 794"/>
                <a:gd name="T59" fmla="*/ 1280 h 1308"/>
                <a:gd name="T60" fmla="*/ 138 w 794"/>
                <a:gd name="T61" fmla="*/ 1258 h 1308"/>
                <a:gd name="T62" fmla="*/ 79 w 794"/>
                <a:gd name="T63" fmla="*/ 1232 h 1308"/>
                <a:gd name="T64" fmla="*/ 79 w 794"/>
                <a:gd name="T65" fmla="*/ 896 h 1308"/>
                <a:gd name="T66" fmla="*/ 57 w 794"/>
                <a:gd name="T67" fmla="*/ 878 h 1308"/>
                <a:gd name="T68" fmla="*/ 37 w 794"/>
                <a:gd name="T69" fmla="*/ 857 h 1308"/>
                <a:gd name="T70" fmla="*/ 22 w 794"/>
                <a:gd name="T71" fmla="*/ 834 h 1308"/>
                <a:gd name="T72" fmla="*/ 10 w 794"/>
                <a:gd name="T73" fmla="*/ 807 h 1308"/>
                <a:gd name="T74" fmla="*/ 3 w 794"/>
                <a:gd name="T75" fmla="*/ 778 h 1308"/>
                <a:gd name="T76" fmla="*/ 0 w 794"/>
                <a:gd name="T77" fmla="*/ 749 h 1308"/>
                <a:gd name="T78" fmla="*/ 0 w 794"/>
                <a:gd name="T79" fmla="*/ 355 h 1308"/>
                <a:gd name="T80" fmla="*/ 3 w 794"/>
                <a:gd name="T81" fmla="*/ 306 h 1308"/>
                <a:gd name="T82" fmla="*/ 13 w 794"/>
                <a:gd name="T83" fmla="*/ 261 h 1308"/>
                <a:gd name="T84" fmla="*/ 28 w 794"/>
                <a:gd name="T85" fmla="*/ 217 h 1308"/>
                <a:gd name="T86" fmla="*/ 48 w 794"/>
                <a:gd name="T87" fmla="*/ 176 h 1308"/>
                <a:gd name="T88" fmla="*/ 74 w 794"/>
                <a:gd name="T89" fmla="*/ 138 h 1308"/>
                <a:gd name="T90" fmla="*/ 104 w 794"/>
                <a:gd name="T91" fmla="*/ 104 h 1308"/>
                <a:gd name="T92" fmla="*/ 138 w 794"/>
                <a:gd name="T93" fmla="*/ 74 h 1308"/>
                <a:gd name="T94" fmla="*/ 175 w 794"/>
                <a:gd name="T95" fmla="*/ 49 h 1308"/>
                <a:gd name="T96" fmla="*/ 216 w 794"/>
                <a:gd name="T97" fmla="*/ 28 h 1308"/>
                <a:gd name="T98" fmla="*/ 261 w 794"/>
                <a:gd name="T99" fmla="*/ 13 h 1308"/>
                <a:gd name="T100" fmla="*/ 307 w 794"/>
                <a:gd name="T101" fmla="*/ 3 h 1308"/>
                <a:gd name="T102" fmla="*/ 355 w 794"/>
                <a:gd name="T103" fmla="*/ 0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94" h="1308">
                  <a:moveTo>
                    <a:pt x="355" y="0"/>
                  </a:moveTo>
                  <a:lnTo>
                    <a:pt x="440" y="0"/>
                  </a:lnTo>
                  <a:lnTo>
                    <a:pt x="487" y="3"/>
                  </a:lnTo>
                  <a:lnTo>
                    <a:pt x="534" y="13"/>
                  </a:lnTo>
                  <a:lnTo>
                    <a:pt x="578" y="28"/>
                  </a:lnTo>
                  <a:lnTo>
                    <a:pt x="619" y="49"/>
                  </a:lnTo>
                  <a:lnTo>
                    <a:pt x="657" y="74"/>
                  </a:lnTo>
                  <a:lnTo>
                    <a:pt x="691" y="104"/>
                  </a:lnTo>
                  <a:lnTo>
                    <a:pt x="721" y="138"/>
                  </a:lnTo>
                  <a:lnTo>
                    <a:pt x="746" y="176"/>
                  </a:lnTo>
                  <a:lnTo>
                    <a:pt x="766" y="217"/>
                  </a:lnTo>
                  <a:lnTo>
                    <a:pt x="782" y="261"/>
                  </a:lnTo>
                  <a:lnTo>
                    <a:pt x="790" y="307"/>
                  </a:lnTo>
                  <a:lnTo>
                    <a:pt x="794" y="356"/>
                  </a:lnTo>
                  <a:lnTo>
                    <a:pt x="794" y="749"/>
                  </a:lnTo>
                  <a:lnTo>
                    <a:pt x="792" y="780"/>
                  </a:lnTo>
                  <a:lnTo>
                    <a:pt x="784" y="807"/>
                  </a:lnTo>
                  <a:lnTo>
                    <a:pt x="772" y="834"/>
                  </a:lnTo>
                  <a:lnTo>
                    <a:pt x="756" y="858"/>
                  </a:lnTo>
                  <a:lnTo>
                    <a:pt x="737" y="879"/>
                  </a:lnTo>
                  <a:lnTo>
                    <a:pt x="714" y="897"/>
                  </a:lnTo>
                  <a:lnTo>
                    <a:pt x="714" y="1231"/>
                  </a:lnTo>
                  <a:lnTo>
                    <a:pt x="656" y="1258"/>
                  </a:lnTo>
                  <a:lnTo>
                    <a:pt x="592" y="1279"/>
                  </a:lnTo>
                  <a:lnTo>
                    <a:pt x="528" y="1296"/>
                  </a:lnTo>
                  <a:lnTo>
                    <a:pt x="462" y="1305"/>
                  </a:lnTo>
                  <a:lnTo>
                    <a:pt x="394" y="1308"/>
                  </a:lnTo>
                  <a:lnTo>
                    <a:pt x="328" y="1305"/>
                  </a:lnTo>
                  <a:lnTo>
                    <a:pt x="263" y="1296"/>
                  </a:lnTo>
                  <a:lnTo>
                    <a:pt x="200" y="1280"/>
                  </a:lnTo>
                  <a:lnTo>
                    <a:pt x="138" y="1258"/>
                  </a:lnTo>
                  <a:lnTo>
                    <a:pt x="79" y="1232"/>
                  </a:lnTo>
                  <a:lnTo>
                    <a:pt x="79" y="896"/>
                  </a:lnTo>
                  <a:lnTo>
                    <a:pt x="57" y="878"/>
                  </a:lnTo>
                  <a:lnTo>
                    <a:pt x="37" y="857"/>
                  </a:lnTo>
                  <a:lnTo>
                    <a:pt x="22" y="834"/>
                  </a:lnTo>
                  <a:lnTo>
                    <a:pt x="10" y="807"/>
                  </a:lnTo>
                  <a:lnTo>
                    <a:pt x="3" y="778"/>
                  </a:lnTo>
                  <a:lnTo>
                    <a:pt x="0" y="749"/>
                  </a:lnTo>
                  <a:lnTo>
                    <a:pt x="0" y="355"/>
                  </a:lnTo>
                  <a:lnTo>
                    <a:pt x="3" y="306"/>
                  </a:lnTo>
                  <a:lnTo>
                    <a:pt x="13" y="261"/>
                  </a:lnTo>
                  <a:lnTo>
                    <a:pt x="28" y="217"/>
                  </a:lnTo>
                  <a:lnTo>
                    <a:pt x="48" y="176"/>
                  </a:lnTo>
                  <a:lnTo>
                    <a:pt x="74" y="138"/>
                  </a:lnTo>
                  <a:lnTo>
                    <a:pt x="104" y="104"/>
                  </a:lnTo>
                  <a:lnTo>
                    <a:pt x="138" y="74"/>
                  </a:lnTo>
                  <a:lnTo>
                    <a:pt x="175" y="49"/>
                  </a:lnTo>
                  <a:lnTo>
                    <a:pt x="216" y="28"/>
                  </a:lnTo>
                  <a:lnTo>
                    <a:pt x="261" y="13"/>
                  </a:lnTo>
                  <a:lnTo>
                    <a:pt x="307" y="3"/>
                  </a:lnTo>
                  <a:lnTo>
                    <a:pt x="355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71" name="Freeform 66"/>
            <p:cNvSpPr/>
            <p:nvPr/>
          </p:nvSpPr>
          <p:spPr bwMode="auto">
            <a:xfrm>
              <a:off x="7486872" y="3834938"/>
              <a:ext cx="100966" cy="209791"/>
            </a:xfrm>
            <a:custGeom>
              <a:avLst/>
              <a:gdLst>
                <a:gd name="T0" fmla="*/ 0 w 837"/>
                <a:gd name="T1" fmla="*/ 0 h 1735"/>
                <a:gd name="T2" fmla="*/ 69 w 837"/>
                <a:gd name="T3" fmla="*/ 0 h 1735"/>
                <a:gd name="T4" fmla="*/ 113 w 837"/>
                <a:gd name="T5" fmla="*/ 3 h 1735"/>
                <a:gd name="T6" fmla="*/ 155 w 837"/>
                <a:gd name="T7" fmla="*/ 12 h 1735"/>
                <a:gd name="T8" fmla="*/ 195 w 837"/>
                <a:gd name="T9" fmla="*/ 28 h 1735"/>
                <a:gd name="T10" fmla="*/ 232 w 837"/>
                <a:gd name="T11" fmla="*/ 48 h 1735"/>
                <a:gd name="T12" fmla="*/ 265 w 837"/>
                <a:gd name="T13" fmla="*/ 73 h 1735"/>
                <a:gd name="T14" fmla="*/ 294 w 837"/>
                <a:gd name="T15" fmla="*/ 102 h 1735"/>
                <a:gd name="T16" fmla="*/ 319 w 837"/>
                <a:gd name="T17" fmla="*/ 135 h 1735"/>
                <a:gd name="T18" fmla="*/ 339 w 837"/>
                <a:gd name="T19" fmla="*/ 172 h 1735"/>
                <a:gd name="T20" fmla="*/ 354 w 837"/>
                <a:gd name="T21" fmla="*/ 211 h 1735"/>
                <a:gd name="T22" fmla="*/ 363 w 837"/>
                <a:gd name="T23" fmla="*/ 253 h 1735"/>
                <a:gd name="T24" fmla="*/ 367 w 837"/>
                <a:gd name="T25" fmla="*/ 298 h 1735"/>
                <a:gd name="T26" fmla="*/ 367 w 837"/>
                <a:gd name="T27" fmla="*/ 627 h 1735"/>
                <a:gd name="T28" fmla="*/ 363 w 837"/>
                <a:gd name="T29" fmla="*/ 657 h 1735"/>
                <a:gd name="T30" fmla="*/ 354 w 837"/>
                <a:gd name="T31" fmla="*/ 686 h 1735"/>
                <a:gd name="T32" fmla="*/ 341 w 837"/>
                <a:gd name="T33" fmla="*/ 711 h 1735"/>
                <a:gd name="T34" fmla="*/ 322 w 837"/>
                <a:gd name="T35" fmla="*/ 733 h 1735"/>
                <a:gd name="T36" fmla="*/ 300 w 837"/>
                <a:gd name="T37" fmla="*/ 751 h 1735"/>
                <a:gd name="T38" fmla="*/ 300 w 837"/>
                <a:gd name="T39" fmla="*/ 1069 h 1735"/>
                <a:gd name="T40" fmla="*/ 300 w 837"/>
                <a:gd name="T41" fmla="*/ 1074 h 1735"/>
                <a:gd name="T42" fmla="*/ 302 w 837"/>
                <a:gd name="T43" fmla="*/ 1077 h 1735"/>
                <a:gd name="T44" fmla="*/ 305 w 837"/>
                <a:gd name="T45" fmla="*/ 1080 h 1735"/>
                <a:gd name="T46" fmla="*/ 308 w 837"/>
                <a:gd name="T47" fmla="*/ 1082 h 1735"/>
                <a:gd name="T48" fmla="*/ 320 w 837"/>
                <a:gd name="T49" fmla="*/ 1089 h 1735"/>
                <a:gd name="T50" fmla="*/ 338 w 837"/>
                <a:gd name="T51" fmla="*/ 1098 h 1735"/>
                <a:gd name="T52" fmla="*/ 359 w 837"/>
                <a:gd name="T53" fmla="*/ 1109 h 1735"/>
                <a:gd name="T54" fmla="*/ 385 w 837"/>
                <a:gd name="T55" fmla="*/ 1123 h 1735"/>
                <a:gd name="T56" fmla="*/ 414 w 837"/>
                <a:gd name="T57" fmla="*/ 1139 h 1735"/>
                <a:gd name="T58" fmla="*/ 447 w 837"/>
                <a:gd name="T59" fmla="*/ 1158 h 1735"/>
                <a:gd name="T60" fmla="*/ 483 w 837"/>
                <a:gd name="T61" fmla="*/ 1179 h 1735"/>
                <a:gd name="T62" fmla="*/ 521 w 837"/>
                <a:gd name="T63" fmla="*/ 1202 h 1735"/>
                <a:gd name="T64" fmla="*/ 561 w 837"/>
                <a:gd name="T65" fmla="*/ 1227 h 1735"/>
                <a:gd name="T66" fmla="*/ 603 w 837"/>
                <a:gd name="T67" fmla="*/ 1255 h 1735"/>
                <a:gd name="T68" fmla="*/ 646 w 837"/>
                <a:gd name="T69" fmla="*/ 1285 h 1735"/>
                <a:gd name="T70" fmla="*/ 689 w 837"/>
                <a:gd name="T71" fmla="*/ 1316 h 1735"/>
                <a:gd name="T72" fmla="*/ 734 w 837"/>
                <a:gd name="T73" fmla="*/ 1349 h 1735"/>
                <a:gd name="T74" fmla="*/ 778 w 837"/>
                <a:gd name="T75" fmla="*/ 1384 h 1735"/>
                <a:gd name="T76" fmla="*/ 798 w 837"/>
                <a:gd name="T77" fmla="*/ 1404 h 1735"/>
                <a:gd name="T78" fmla="*/ 814 w 837"/>
                <a:gd name="T79" fmla="*/ 1427 h 1735"/>
                <a:gd name="T80" fmla="*/ 827 w 837"/>
                <a:gd name="T81" fmla="*/ 1453 h 1735"/>
                <a:gd name="T82" fmla="*/ 833 w 837"/>
                <a:gd name="T83" fmla="*/ 1480 h 1735"/>
                <a:gd name="T84" fmla="*/ 837 w 837"/>
                <a:gd name="T85" fmla="*/ 1509 h 1735"/>
                <a:gd name="T86" fmla="*/ 837 w 837"/>
                <a:gd name="T87" fmla="*/ 1735 h 1735"/>
                <a:gd name="T88" fmla="*/ 543 w 837"/>
                <a:gd name="T89" fmla="*/ 1735 h 1735"/>
                <a:gd name="T90" fmla="*/ 11 w 837"/>
                <a:gd name="T91" fmla="*/ 1204 h 1735"/>
                <a:gd name="T92" fmla="*/ 51 w 837"/>
                <a:gd name="T93" fmla="*/ 1130 h 1735"/>
                <a:gd name="T94" fmla="*/ 86 w 837"/>
                <a:gd name="T95" fmla="*/ 1055 h 1735"/>
                <a:gd name="T96" fmla="*/ 115 w 837"/>
                <a:gd name="T97" fmla="*/ 977 h 1735"/>
                <a:gd name="T98" fmla="*/ 139 w 837"/>
                <a:gd name="T99" fmla="*/ 898 h 1735"/>
                <a:gd name="T100" fmla="*/ 156 w 837"/>
                <a:gd name="T101" fmla="*/ 816 h 1735"/>
                <a:gd name="T102" fmla="*/ 167 w 837"/>
                <a:gd name="T103" fmla="*/ 734 h 1735"/>
                <a:gd name="T104" fmla="*/ 173 w 837"/>
                <a:gd name="T105" fmla="*/ 650 h 1735"/>
                <a:gd name="T106" fmla="*/ 173 w 837"/>
                <a:gd name="T107" fmla="*/ 566 h 1735"/>
                <a:gd name="T108" fmla="*/ 166 w 837"/>
                <a:gd name="T109" fmla="*/ 480 h 1735"/>
                <a:gd name="T110" fmla="*/ 154 w 837"/>
                <a:gd name="T111" fmla="*/ 395 h 1735"/>
                <a:gd name="T112" fmla="*/ 135 w 837"/>
                <a:gd name="T113" fmla="*/ 312 h 1735"/>
                <a:gd name="T114" fmla="*/ 110 w 837"/>
                <a:gd name="T115" fmla="*/ 230 h 1735"/>
                <a:gd name="T116" fmla="*/ 79 w 837"/>
                <a:gd name="T117" fmla="*/ 152 h 1735"/>
                <a:gd name="T118" fmla="*/ 42 w 837"/>
                <a:gd name="T119" fmla="*/ 74 h 1735"/>
                <a:gd name="T120" fmla="*/ 0 w 837"/>
                <a:gd name="T12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7" h="1735">
                  <a:moveTo>
                    <a:pt x="0" y="0"/>
                  </a:moveTo>
                  <a:lnTo>
                    <a:pt x="69" y="0"/>
                  </a:lnTo>
                  <a:lnTo>
                    <a:pt x="113" y="3"/>
                  </a:lnTo>
                  <a:lnTo>
                    <a:pt x="155" y="12"/>
                  </a:lnTo>
                  <a:lnTo>
                    <a:pt x="195" y="28"/>
                  </a:lnTo>
                  <a:lnTo>
                    <a:pt x="232" y="48"/>
                  </a:lnTo>
                  <a:lnTo>
                    <a:pt x="265" y="73"/>
                  </a:lnTo>
                  <a:lnTo>
                    <a:pt x="294" y="102"/>
                  </a:lnTo>
                  <a:lnTo>
                    <a:pt x="319" y="135"/>
                  </a:lnTo>
                  <a:lnTo>
                    <a:pt x="339" y="172"/>
                  </a:lnTo>
                  <a:lnTo>
                    <a:pt x="354" y="211"/>
                  </a:lnTo>
                  <a:lnTo>
                    <a:pt x="363" y="253"/>
                  </a:lnTo>
                  <a:lnTo>
                    <a:pt x="367" y="298"/>
                  </a:lnTo>
                  <a:lnTo>
                    <a:pt x="367" y="627"/>
                  </a:lnTo>
                  <a:lnTo>
                    <a:pt x="363" y="657"/>
                  </a:lnTo>
                  <a:lnTo>
                    <a:pt x="354" y="686"/>
                  </a:lnTo>
                  <a:lnTo>
                    <a:pt x="341" y="711"/>
                  </a:lnTo>
                  <a:lnTo>
                    <a:pt x="322" y="733"/>
                  </a:lnTo>
                  <a:lnTo>
                    <a:pt x="300" y="751"/>
                  </a:lnTo>
                  <a:lnTo>
                    <a:pt x="300" y="1069"/>
                  </a:lnTo>
                  <a:lnTo>
                    <a:pt x="300" y="1074"/>
                  </a:lnTo>
                  <a:lnTo>
                    <a:pt x="302" y="1077"/>
                  </a:lnTo>
                  <a:lnTo>
                    <a:pt x="305" y="1080"/>
                  </a:lnTo>
                  <a:lnTo>
                    <a:pt x="308" y="1082"/>
                  </a:lnTo>
                  <a:lnTo>
                    <a:pt x="320" y="1089"/>
                  </a:lnTo>
                  <a:lnTo>
                    <a:pt x="338" y="1098"/>
                  </a:lnTo>
                  <a:lnTo>
                    <a:pt x="359" y="1109"/>
                  </a:lnTo>
                  <a:lnTo>
                    <a:pt x="385" y="1123"/>
                  </a:lnTo>
                  <a:lnTo>
                    <a:pt x="414" y="1139"/>
                  </a:lnTo>
                  <a:lnTo>
                    <a:pt x="447" y="1158"/>
                  </a:lnTo>
                  <a:lnTo>
                    <a:pt x="483" y="1179"/>
                  </a:lnTo>
                  <a:lnTo>
                    <a:pt x="521" y="1202"/>
                  </a:lnTo>
                  <a:lnTo>
                    <a:pt x="561" y="1227"/>
                  </a:lnTo>
                  <a:lnTo>
                    <a:pt x="603" y="1255"/>
                  </a:lnTo>
                  <a:lnTo>
                    <a:pt x="646" y="1285"/>
                  </a:lnTo>
                  <a:lnTo>
                    <a:pt x="689" y="1316"/>
                  </a:lnTo>
                  <a:lnTo>
                    <a:pt x="734" y="1349"/>
                  </a:lnTo>
                  <a:lnTo>
                    <a:pt x="778" y="1384"/>
                  </a:lnTo>
                  <a:lnTo>
                    <a:pt x="798" y="1404"/>
                  </a:lnTo>
                  <a:lnTo>
                    <a:pt x="814" y="1427"/>
                  </a:lnTo>
                  <a:lnTo>
                    <a:pt x="827" y="1453"/>
                  </a:lnTo>
                  <a:lnTo>
                    <a:pt x="833" y="1480"/>
                  </a:lnTo>
                  <a:lnTo>
                    <a:pt x="837" y="1509"/>
                  </a:lnTo>
                  <a:lnTo>
                    <a:pt x="837" y="1735"/>
                  </a:lnTo>
                  <a:lnTo>
                    <a:pt x="543" y="1735"/>
                  </a:lnTo>
                  <a:lnTo>
                    <a:pt x="11" y="1204"/>
                  </a:lnTo>
                  <a:lnTo>
                    <a:pt x="51" y="1130"/>
                  </a:lnTo>
                  <a:lnTo>
                    <a:pt x="86" y="1055"/>
                  </a:lnTo>
                  <a:lnTo>
                    <a:pt x="115" y="977"/>
                  </a:lnTo>
                  <a:lnTo>
                    <a:pt x="139" y="898"/>
                  </a:lnTo>
                  <a:lnTo>
                    <a:pt x="156" y="816"/>
                  </a:lnTo>
                  <a:lnTo>
                    <a:pt x="167" y="734"/>
                  </a:lnTo>
                  <a:lnTo>
                    <a:pt x="173" y="650"/>
                  </a:lnTo>
                  <a:lnTo>
                    <a:pt x="173" y="566"/>
                  </a:lnTo>
                  <a:lnTo>
                    <a:pt x="166" y="480"/>
                  </a:lnTo>
                  <a:lnTo>
                    <a:pt x="154" y="395"/>
                  </a:lnTo>
                  <a:lnTo>
                    <a:pt x="135" y="312"/>
                  </a:lnTo>
                  <a:lnTo>
                    <a:pt x="110" y="230"/>
                  </a:lnTo>
                  <a:lnTo>
                    <a:pt x="79" y="152"/>
                  </a:lnTo>
                  <a:lnTo>
                    <a:pt x="42" y="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72" name="Freeform 67"/>
            <p:cNvSpPr>
              <a:spLocks noEditPoints="1"/>
            </p:cNvSpPr>
            <p:nvPr/>
          </p:nvSpPr>
          <p:spPr bwMode="auto">
            <a:xfrm>
              <a:off x="7244434" y="3786571"/>
              <a:ext cx="317407" cy="316802"/>
            </a:xfrm>
            <a:custGeom>
              <a:avLst/>
              <a:gdLst>
                <a:gd name="T0" fmla="*/ 821 w 2625"/>
                <a:gd name="T1" fmla="*/ 192 h 2623"/>
                <a:gd name="T2" fmla="*/ 578 w 2625"/>
                <a:gd name="T3" fmla="*/ 290 h 2623"/>
                <a:gd name="T4" fmla="*/ 370 w 2625"/>
                <a:gd name="T5" fmla="*/ 467 h 2623"/>
                <a:gd name="T6" fmla="*/ 230 w 2625"/>
                <a:gd name="T7" fmla="*/ 696 h 2623"/>
                <a:gd name="T8" fmla="*/ 172 w 2625"/>
                <a:gd name="T9" fmla="*/ 948 h 2623"/>
                <a:gd name="T10" fmla="*/ 192 w 2625"/>
                <a:gd name="T11" fmla="*/ 1207 h 2623"/>
                <a:gd name="T12" fmla="*/ 290 w 2625"/>
                <a:gd name="T13" fmla="*/ 1450 h 2623"/>
                <a:gd name="T14" fmla="*/ 467 w 2625"/>
                <a:gd name="T15" fmla="*/ 1658 h 2623"/>
                <a:gd name="T16" fmla="*/ 696 w 2625"/>
                <a:gd name="T17" fmla="*/ 1796 h 2623"/>
                <a:gd name="T18" fmla="*/ 949 w 2625"/>
                <a:gd name="T19" fmla="*/ 1855 h 2623"/>
                <a:gd name="T20" fmla="*/ 1207 w 2625"/>
                <a:gd name="T21" fmla="*/ 1836 h 2623"/>
                <a:gd name="T22" fmla="*/ 1450 w 2625"/>
                <a:gd name="T23" fmla="*/ 1737 h 2623"/>
                <a:gd name="T24" fmla="*/ 1658 w 2625"/>
                <a:gd name="T25" fmla="*/ 1560 h 2623"/>
                <a:gd name="T26" fmla="*/ 1797 w 2625"/>
                <a:gd name="T27" fmla="*/ 1331 h 2623"/>
                <a:gd name="T28" fmla="*/ 1856 w 2625"/>
                <a:gd name="T29" fmla="*/ 1078 h 2623"/>
                <a:gd name="T30" fmla="*/ 1836 w 2625"/>
                <a:gd name="T31" fmla="*/ 820 h 2623"/>
                <a:gd name="T32" fmla="*/ 1738 w 2625"/>
                <a:gd name="T33" fmla="*/ 577 h 2623"/>
                <a:gd name="T34" fmla="*/ 1561 w 2625"/>
                <a:gd name="T35" fmla="*/ 369 h 2623"/>
                <a:gd name="T36" fmla="*/ 1332 w 2625"/>
                <a:gd name="T37" fmla="*/ 231 h 2623"/>
                <a:gd name="T38" fmla="*/ 1079 w 2625"/>
                <a:gd name="T39" fmla="*/ 172 h 2623"/>
                <a:gd name="T40" fmla="*/ 1155 w 2625"/>
                <a:gd name="T41" fmla="*/ 9 h 2623"/>
                <a:gd name="T42" fmla="*/ 1428 w 2625"/>
                <a:gd name="T43" fmla="*/ 88 h 2623"/>
                <a:gd name="T44" fmla="*/ 1675 w 2625"/>
                <a:gd name="T45" fmla="*/ 245 h 2623"/>
                <a:gd name="T46" fmla="*/ 1876 w 2625"/>
                <a:gd name="T47" fmla="*/ 480 h 2623"/>
                <a:gd name="T48" fmla="*/ 1995 w 2625"/>
                <a:gd name="T49" fmla="*/ 755 h 2623"/>
                <a:gd name="T50" fmla="*/ 2028 w 2625"/>
                <a:gd name="T51" fmla="*/ 1048 h 2623"/>
                <a:gd name="T52" fmla="*/ 1975 w 2625"/>
                <a:gd name="T53" fmla="*/ 1339 h 2623"/>
                <a:gd name="T54" fmla="*/ 1836 w 2625"/>
                <a:gd name="T55" fmla="*/ 1606 h 2623"/>
                <a:gd name="T56" fmla="*/ 1928 w 2625"/>
                <a:gd name="T57" fmla="*/ 1728 h 2623"/>
                <a:gd name="T58" fmla="*/ 2602 w 2625"/>
                <a:gd name="T59" fmla="*/ 2405 h 2623"/>
                <a:gd name="T60" fmla="*/ 2622 w 2625"/>
                <a:gd name="T61" fmla="*/ 2509 h 2623"/>
                <a:gd name="T62" fmla="*/ 2562 w 2625"/>
                <a:gd name="T63" fmla="*/ 2600 h 2623"/>
                <a:gd name="T64" fmla="*/ 2458 w 2625"/>
                <a:gd name="T65" fmla="*/ 2621 h 2623"/>
                <a:gd name="T66" fmla="*/ 1798 w 2625"/>
                <a:gd name="T67" fmla="*/ 1994 h 2623"/>
                <a:gd name="T68" fmla="*/ 1669 w 2625"/>
                <a:gd name="T69" fmla="*/ 1787 h 2623"/>
                <a:gd name="T70" fmla="*/ 1424 w 2625"/>
                <a:gd name="T71" fmla="*/ 1940 h 2623"/>
                <a:gd name="T72" fmla="*/ 1154 w 2625"/>
                <a:gd name="T73" fmla="*/ 2017 h 2623"/>
                <a:gd name="T74" fmla="*/ 873 w 2625"/>
                <a:gd name="T75" fmla="*/ 2016 h 2623"/>
                <a:gd name="T76" fmla="*/ 600 w 2625"/>
                <a:gd name="T77" fmla="*/ 1938 h 2623"/>
                <a:gd name="T78" fmla="*/ 352 w 2625"/>
                <a:gd name="T79" fmla="*/ 1781 h 2623"/>
                <a:gd name="T80" fmla="*/ 152 w 2625"/>
                <a:gd name="T81" fmla="*/ 1546 h 2623"/>
                <a:gd name="T82" fmla="*/ 34 w 2625"/>
                <a:gd name="T83" fmla="*/ 1270 h 2623"/>
                <a:gd name="T84" fmla="*/ 0 w 2625"/>
                <a:gd name="T85" fmla="*/ 976 h 2623"/>
                <a:gd name="T86" fmla="*/ 55 w 2625"/>
                <a:gd name="T87" fmla="*/ 684 h 2623"/>
                <a:gd name="T88" fmla="*/ 195 w 2625"/>
                <a:gd name="T89" fmla="*/ 415 h 2623"/>
                <a:gd name="T90" fmla="*/ 411 w 2625"/>
                <a:gd name="T91" fmla="*/ 198 h 2623"/>
                <a:gd name="T92" fmla="*/ 666 w 2625"/>
                <a:gd name="T93" fmla="*/ 61 h 2623"/>
                <a:gd name="T94" fmla="*/ 944 w 2625"/>
                <a:gd name="T95" fmla="*/ 2 h 2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25" h="2623">
                  <a:moveTo>
                    <a:pt x="1013" y="169"/>
                  </a:moveTo>
                  <a:lnTo>
                    <a:pt x="949" y="172"/>
                  </a:lnTo>
                  <a:lnTo>
                    <a:pt x="885" y="179"/>
                  </a:lnTo>
                  <a:lnTo>
                    <a:pt x="821" y="192"/>
                  </a:lnTo>
                  <a:lnTo>
                    <a:pt x="758" y="209"/>
                  </a:lnTo>
                  <a:lnTo>
                    <a:pt x="696" y="231"/>
                  </a:lnTo>
                  <a:lnTo>
                    <a:pt x="636" y="258"/>
                  </a:lnTo>
                  <a:lnTo>
                    <a:pt x="578" y="290"/>
                  </a:lnTo>
                  <a:lnTo>
                    <a:pt x="521" y="327"/>
                  </a:lnTo>
                  <a:lnTo>
                    <a:pt x="467" y="369"/>
                  </a:lnTo>
                  <a:lnTo>
                    <a:pt x="416" y="417"/>
                  </a:lnTo>
                  <a:lnTo>
                    <a:pt x="370" y="467"/>
                  </a:lnTo>
                  <a:lnTo>
                    <a:pt x="328" y="522"/>
                  </a:lnTo>
                  <a:lnTo>
                    <a:pt x="290" y="577"/>
                  </a:lnTo>
                  <a:lnTo>
                    <a:pt x="258" y="635"/>
                  </a:lnTo>
                  <a:lnTo>
                    <a:pt x="230" y="696"/>
                  </a:lnTo>
                  <a:lnTo>
                    <a:pt x="208" y="757"/>
                  </a:lnTo>
                  <a:lnTo>
                    <a:pt x="192" y="820"/>
                  </a:lnTo>
                  <a:lnTo>
                    <a:pt x="178" y="884"/>
                  </a:lnTo>
                  <a:lnTo>
                    <a:pt x="172" y="948"/>
                  </a:lnTo>
                  <a:lnTo>
                    <a:pt x="168" y="1014"/>
                  </a:lnTo>
                  <a:lnTo>
                    <a:pt x="172" y="1079"/>
                  </a:lnTo>
                  <a:lnTo>
                    <a:pt x="178" y="1143"/>
                  </a:lnTo>
                  <a:lnTo>
                    <a:pt x="192" y="1207"/>
                  </a:lnTo>
                  <a:lnTo>
                    <a:pt x="208" y="1270"/>
                  </a:lnTo>
                  <a:lnTo>
                    <a:pt x="230" y="1332"/>
                  </a:lnTo>
                  <a:lnTo>
                    <a:pt x="258" y="1392"/>
                  </a:lnTo>
                  <a:lnTo>
                    <a:pt x="290" y="1450"/>
                  </a:lnTo>
                  <a:lnTo>
                    <a:pt x="328" y="1507"/>
                  </a:lnTo>
                  <a:lnTo>
                    <a:pt x="370" y="1560"/>
                  </a:lnTo>
                  <a:lnTo>
                    <a:pt x="416" y="1610"/>
                  </a:lnTo>
                  <a:lnTo>
                    <a:pt x="467" y="1658"/>
                  </a:lnTo>
                  <a:lnTo>
                    <a:pt x="521" y="1700"/>
                  </a:lnTo>
                  <a:lnTo>
                    <a:pt x="578" y="1737"/>
                  </a:lnTo>
                  <a:lnTo>
                    <a:pt x="636" y="1769"/>
                  </a:lnTo>
                  <a:lnTo>
                    <a:pt x="696" y="1796"/>
                  </a:lnTo>
                  <a:lnTo>
                    <a:pt x="758" y="1818"/>
                  </a:lnTo>
                  <a:lnTo>
                    <a:pt x="821" y="1836"/>
                  </a:lnTo>
                  <a:lnTo>
                    <a:pt x="884" y="1848"/>
                  </a:lnTo>
                  <a:lnTo>
                    <a:pt x="949" y="1855"/>
                  </a:lnTo>
                  <a:lnTo>
                    <a:pt x="1013" y="1858"/>
                  </a:lnTo>
                  <a:lnTo>
                    <a:pt x="1079" y="1855"/>
                  </a:lnTo>
                  <a:lnTo>
                    <a:pt x="1143" y="1848"/>
                  </a:lnTo>
                  <a:lnTo>
                    <a:pt x="1207" y="1836"/>
                  </a:lnTo>
                  <a:lnTo>
                    <a:pt x="1270" y="1818"/>
                  </a:lnTo>
                  <a:lnTo>
                    <a:pt x="1332" y="1796"/>
                  </a:lnTo>
                  <a:lnTo>
                    <a:pt x="1392" y="1769"/>
                  </a:lnTo>
                  <a:lnTo>
                    <a:pt x="1450" y="1737"/>
                  </a:lnTo>
                  <a:lnTo>
                    <a:pt x="1507" y="1700"/>
                  </a:lnTo>
                  <a:lnTo>
                    <a:pt x="1560" y="1658"/>
                  </a:lnTo>
                  <a:lnTo>
                    <a:pt x="1612" y="1610"/>
                  </a:lnTo>
                  <a:lnTo>
                    <a:pt x="1658" y="1560"/>
                  </a:lnTo>
                  <a:lnTo>
                    <a:pt x="1700" y="1507"/>
                  </a:lnTo>
                  <a:lnTo>
                    <a:pt x="1738" y="1450"/>
                  </a:lnTo>
                  <a:lnTo>
                    <a:pt x="1770" y="1392"/>
                  </a:lnTo>
                  <a:lnTo>
                    <a:pt x="1797" y="1331"/>
                  </a:lnTo>
                  <a:lnTo>
                    <a:pt x="1820" y="1270"/>
                  </a:lnTo>
                  <a:lnTo>
                    <a:pt x="1836" y="1207"/>
                  </a:lnTo>
                  <a:lnTo>
                    <a:pt x="1849" y="1143"/>
                  </a:lnTo>
                  <a:lnTo>
                    <a:pt x="1856" y="1078"/>
                  </a:lnTo>
                  <a:lnTo>
                    <a:pt x="1859" y="1014"/>
                  </a:lnTo>
                  <a:lnTo>
                    <a:pt x="1856" y="948"/>
                  </a:lnTo>
                  <a:lnTo>
                    <a:pt x="1849" y="884"/>
                  </a:lnTo>
                  <a:lnTo>
                    <a:pt x="1836" y="820"/>
                  </a:lnTo>
                  <a:lnTo>
                    <a:pt x="1820" y="757"/>
                  </a:lnTo>
                  <a:lnTo>
                    <a:pt x="1797" y="695"/>
                  </a:lnTo>
                  <a:lnTo>
                    <a:pt x="1770" y="635"/>
                  </a:lnTo>
                  <a:lnTo>
                    <a:pt x="1738" y="577"/>
                  </a:lnTo>
                  <a:lnTo>
                    <a:pt x="1700" y="520"/>
                  </a:lnTo>
                  <a:lnTo>
                    <a:pt x="1658" y="467"/>
                  </a:lnTo>
                  <a:lnTo>
                    <a:pt x="1612" y="417"/>
                  </a:lnTo>
                  <a:lnTo>
                    <a:pt x="1561" y="369"/>
                  </a:lnTo>
                  <a:lnTo>
                    <a:pt x="1507" y="327"/>
                  </a:lnTo>
                  <a:lnTo>
                    <a:pt x="1450" y="290"/>
                  </a:lnTo>
                  <a:lnTo>
                    <a:pt x="1392" y="258"/>
                  </a:lnTo>
                  <a:lnTo>
                    <a:pt x="1332" y="231"/>
                  </a:lnTo>
                  <a:lnTo>
                    <a:pt x="1270" y="209"/>
                  </a:lnTo>
                  <a:lnTo>
                    <a:pt x="1207" y="192"/>
                  </a:lnTo>
                  <a:lnTo>
                    <a:pt x="1143" y="179"/>
                  </a:lnTo>
                  <a:lnTo>
                    <a:pt x="1079" y="172"/>
                  </a:lnTo>
                  <a:lnTo>
                    <a:pt x="1013" y="169"/>
                  </a:lnTo>
                  <a:close/>
                  <a:moveTo>
                    <a:pt x="1013" y="0"/>
                  </a:moveTo>
                  <a:lnTo>
                    <a:pt x="1084" y="2"/>
                  </a:lnTo>
                  <a:lnTo>
                    <a:pt x="1155" y="9"/>
                  </a:lnTo>
                  <a:lnTo>
                    <a:pt x="1225" y="22"/>
                  </a:lnTo>
                  <a:lnTo>
                    <a:pt x="1294" y="38"/>
                  </a:lnTo>
                  <a:lnTo>
                    <a:pt x="1362" y="61"/>
                  </a:lnTo>
                  <a:lnTo>
                    <a:pt x="1428" y="88"/>
                  </a:lnTo>
                  <a:lnTo>
                    <a:pt x="1494" y="119"/>
                  </a:lnTo>
                  <a:lnTo>
                    <a:pt x="1557" y="157"/>
                  </a:lnTo>
                  <a:lnTo>
                    <a:pt x="1617" y="198"/>
                  </a:lnTo>
                  <a:lnTo>
                    <a:pt x="1675" y="245"/>
                  </a:lnTo>
                  <a:lnTo>
                    <a:pt x="1731" y="296"/>
                  </a:lnTo>
                  <a:lnTo>
                    <a:pt x="1784" y="355"/>
                  </a:lnTo>
                  <a:lnTo>
                    <a:pt x="1833" y="415"/>
                  </a:lnTo>
                  <a:lnTo>
                    <a:pt x="1876" y="480"/>
                  </a:lnTo>
                  <a:lnTo>
                    <a:pt x="1914" y="545"/>
                  </a:lnTo>
                  <a:lnTo>
                    <a:pt x="1946" y="613"/>
                  </a:lnTo>
                  <a:lnTo>
                    <a:pt x="1974" y="683"/>
                  </a:lnTo>
                  <a:lnTo>
                    <a:pt x="1995" y="755"/>
                  </a:lnTo>
                  <a:lnTo>
                    <a:pt x="2011" y="827"/>
                  </a:lnTo>
                  <a:lnTo>
                    <a:pt x="2022" y="900"/>
                  </a:lnTo>
                  <a:lnTo>
                    <a:pt x="2028" y="974"/>
                  </a:lnTo>
                  <a:lnTo>
                    <a:pt x="2028" y="1048"/>
                  </a:lnTo>
                  <a:lnTo>
                    <a:pt x="2022" y="1122"/>
                  </a:lnTo>
                  <a:lnTo>
                    <a:pt x="2012" y="1195"/>
                  </a:lnTo>
                  <a:lnTo>
                    <a:pt x="1996" y="1267"/>
                  </a:lnTo>
                  <a:lnTo>
                    <a:pt x="1975" y="1339"/>
                  </a:lnTo>
                  <a:lnTo>
                    <a:pt x="1948" y="1408"/>
                  </a:lnTo>
                  <a:lnTo>
                    <a:pt x="1916" y="1477"/>
                  </a:lnTo>
                  <a:lnTo>
                    <a:pt x="1880" y="1543"/>
                  </a:lnTo>
                  <a:lnTo>
                    <a:pt x="1836" y="1606"/>
                  </a:lnTo>
                  <a:lnTo>
                    <a:pt x="1789" y="1668"/>
                  </a:lnTo>
                  <a:lnTo>
                    <a:pt x="1874" y="1753"/>
                  </a:lnTo>
                  <a:lnTo>
                    <a:pt x="1913" y="1713"/>
                  </a:lnTo>
                  <a:lnTo>
                    <a:pt x="1928" y="1728"/>
                  </a:lnTo>
                  <a:lnTo>
                    <a:pt x="1945" y="1745"/>
                  </a:lnTo>
                  <a:lnTo>
                    <a:pt x="1996" y="1796"/>
                  </a:lnTo>
                  <a:lnTo>
                    <a:pt x="2584" y="2383"/>
                  </a:lnTo>
                  <a:lnTo>
                    <a:pt x="2602" y="2405"/>
                  </a:lnTo>
                  <a:lnTo>
                    <a:pt x="2614" y="2430"/>
                  </a:lnTo>
                  <a:lnTo>
                    <a:pt x="2622" y="2456"/>
                  </a:lnTo>
                  <a:lnTo>
                    <a:pt x="2625" y="2483"/>
                  </a:lnTo>
                  <a:lnTo>
                    <a:pt x="2622" y="2509"/>
                  </a:lnTo>
                  <a:lnTo>
                    <a:pt x="2614" y="2536"/>
                  </a:lnTo>
                  <a:lnTo>
                    <a:pt x="2602" y="2560"/>
                  </a:lnTo>
                  <a:lnTo>
                    <a:pt x="2584" y="2582"/>
                  </a:lnTo>
                  <a:lnTo>
                    <a:pt x="2562" y="2600"/>
                  </a:lnTo>
                  <a:lnTo>
                    <a:pt x="2538" y="2613"/>
                  </a:lnTo>
                  <a:lnTo>
                    <a:pt x="2511" y="2621"/>
                  </a:lnTo>
                  <a:lnTo>
                    <a:pt x="2485" y="2623"/>
                  </a:lnTo>
                  <a:lnTo>
                    <a:pt x="2458" y="2621"/>
                  </a:lnTo>
                  <a:lnTo>
                    <a:pt x="2431" y="2613"/>
                  </a:lnTo>
                  <a:lnTo>
                    <a:pt x="2407" y="2600"/>
                  </a:lnTo>
                  <a:lnTo>
                    <a:pt x="2385" y="2582"/>
                  </a:lnTo>
                  <a:lnTo>
                    <a:pt x="1798" y="1994"/>
                  </a:lnTo>
                  <a:lnTo>
                    <a:pt x="1747" y="1943"/>
                  </a:lnTo>
                  <a:lnTo>
                    <a:pt x="1715" y="1911"/>
                  </a:lnTo>
                  <a:lnTo>
                    <a:pt x="1755" y="1873"/>
                  </a:lnTo>
                  <a:lnTo>
                    <a:pt x="1669" y="1787"/>
                  </a:lnTo>
                  <a:lnTo>
                    <a:pt x="1611" y="1833"/>
                  </a:lnTo>
                  <a:lnTo>
                    <a:pt x="1551" y="1874"/>
                  </a:lnTo>
                  <a:lnTo>
                    <a:pt x="1488" y="1909"/>
                  </a:lnTo>
                  <a:lnTo>
                    <a:pt x="1424" y="1940"/>
                  </a:lnTo>
                  <a:lnTo>
                    <a:pt x="1357" y="1966"/>
                  </a:lnTo>
                  <a:lnTo>
                    <a:pt x="1291" y="1989"/>
                  </a:lnTo>
                  <a:lnTo>
                    <a:pt x="1223" y="2005"/>
                  </a:lnTo>
                  <a:lnTo>
                    <a:pt x="1154" y="2017"/>
                  </a:lnTo>
                  <a:lnTo>
                    <a:pt x="1084" y="2024"/>
                  </a:lnTo>
                  <a:lnTo>
                    <a:pt x="1013" y="2026"/>
                  </a:lnTo>
                  <a:lnTo>
                    <a:pt x="944" y="2024"/>
                  </a:lnTo>
                  <a:lnTo>
                    <a:pt x="873" y="2016"/>
                  </a:lnTo>
                  <a:lnTo>
                    <a:pt x="803" y="2004"/>
                  </a:lnTo>
                  <a:lnTo>
                    <a:pt x="734" y="1987"/>
                  </a:lnTo>
                  <a:lnTo>
                    <a:pt x="666" y="1965"/>
                  </a:lnTo>
                  <a:lnTo>
                    <a:pt x="600" y="1938"/>
                  </a:lnTo>
                  <a:lnTo>
                    <a:pt x="535" y="1906"/>
                  </a:lnTo>
                  <a:lnTo>
                    <a:pt x="472" y="1869"/>
                  </a:lnTo>
                  <a:lnTo>
                    <a:pt x="411" y="1827"/>
                  </a:lnTo>
                  <a:lnTo>
                    <a:pt x="352" y="1781"/>
                  </a:lnTo>
                  <a:lnTo>
                    <a:pt x="297" y="1730"/>
                  </a:lnTo>
                  <a:lnTo>
                    <a:pt x="244" y="1671"/>
                  </a:lnTo>
                  <a:lnTo>
                    <a:pt x="195" y="1610"/>
                  </a:lnTo>
                  <a:lnTo>
                    <a:pt x="152" y="1546"/>
                  </a:lnTo>
                  <a:lnTo>
                    <a:pt x="114" y="1480"/>
                  </a:lnTo>
                  <a:lnTo>
                    <a:pt x="82" y="1411"/>
                  </a:lnTo>
                  <a:lnTo>
                    <a:pt x="55" y="1342"/>
                  </a:lnTo>
                  <a:lnTo>
                    <a:pt x="34" y="1270"/>
                  </a:lnTo>
                  <a:lnTo>
                    <a:pt x="17" y="1197"/>
                  </a:lnTo>
                  <a:lnTo>
                    <a:pt x="6" y="1124"/>
                  </a:lnTo>
                  <a:lnTo>
                    <a:pt x="0" y="1050"/>
                  </a:lnTo>
                  <a:lnTo>
                    <a:pt x="0" y="976"/>
                  </a:lnTo>
                  <a:lnTo>
                    <a:pt x="6" y="902"/>
                  </a:lnTo>
                  <a:lnTo>
                    <a:pt x="17" y="829"/>
                  </a:lnTo>
                  <a:lnTo>
                    <a:pt x="34" y="756"/>
                  </a:lnTo>
                  <a:lnTo>
                    <a:pt x="55" y="684"/>
                  </a:lnTo>
                  <a:lnTo>
                    <a:pt x="82" y="614"/>
                  </a:lnTo>
                  <a:lnTo>
                    <a:pt x="114" y="546"/>
                  </a:lnTo>
                  <a:lnTo>
                    <a:pt x="152" y="480"/>
                  </a:lnTo>
                  <a:lnTo>
                    <a:pt x="195" y="415"/>
                  </a:lnTo>
                  <a:lnTo>
                    <a:pt x="244" y="355"/>
                  </a:lnTo>
                  <a:lnTo>
                    <a:pt x="297" y="296"/>
                  </a:lnTo>
                  <a:lnTo>
                    <a:pt x="352" y="245"/>
                  </a:lnTo>
                  <a:lnTo>
                    <a:pt x="411" y="198"/>
                  </a:lnTo>
                  <a:lnTo>
                    <a:pt x="472" y="157"/>
                  </a:lnTo>
                  <a:lnTo>
                    <a:pt x="535" y="119"/>
                  </a:lnTo>
                  <a:lnTo>
                    <a:pt x="600" y="88"/>
                  </a:lnTo>
                  <a:lnTo>
                    <a:pt x="666" y="61"/>
                  </a:lnTo>
                  <a:lnTo>
                    <a:pt x="734" y="38"/>
                  </a:lnTo>
                  <a:lnTo>
                    <a:pt x="803" y="22"/>
                  </a:lnTo>
                  <a:lnTo>
                    <a:pt x="873" y="9"/>
                  </a:lnTo>
                  <a:lnTo>
                    <a:pt x="944" y="2"/>
                  </a:lnTo>
                  <a:lnTo>
                    <a:pt x="1013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73" name="Freeform 68"/>
            <p:cNvSpPr/>
            <p:nvPr/>
          </p:nvSpPr>
          <p:spPr bwMode="auto">
            <a:xfrm>
              <a:off x="7147096" y="3834938"/>
              <a:ext cx="119708" cy="209791"/>
            </a:xfrm>
            <a:custGeom>
              <a:avLst/>
              <a:gdLst>
                <a:gd name="T0" fmla="*/ 832 w 991"/>
                <a:gd name="T1" fmla="*/ 0 h 1735"/>
                <a:gd name="T2" fmla="*/ 755 w 991"/>
                <a:gd name="T3" fmla="*/ 145 h 1735"/>
                <a:gd name="T4" fmla="*/ 701 w 991"/>
                <a:gd name="T5" fmla="*/ 298 h 1735"/>
                <a:gd name="T6" fmla="*/ 669 w 991"/>
                <a:gd name="T7" fmla="*/ 455 h 1735"/>
                <a:gd name="T8" fmla="*/ 658 w 991"/>
                <a:gd name="T9" fmla="*/ 614 h 1735"/>
                <a:gd name="T10" fmla="*/ 670 w 991"/>
                <a:gd name="T11" fmla="*/ 773 h 1735"/>
                <a:gd name="T12" fmla="*/ 703 w 991"/>
                <a:gd name="T13" fmla="*/ 930 h 1735"/>
                <a:gd name="T14" fmla="*/ 758 w 991"/>
                <a:gd name="T15" fmla="*/ 1082 h 1735"/>
                <a:gd name="T16" fmla="*/ 835 w 991"/>
                <a:gd name="T17" fmla="*/ 1227 h 1735"/>
                <a:gd name="T18" fmla="*/ 934 w 991"/>
                <a:gd name="T19" fmla="*/ 1361 h 1735"/>
                <a:gd name="T20" fmla="*/ 917 w 991"/>
                <a:gd name="T21" fmla="*/ 1479 h 1735"/>
                <a:gd name="T22" fmla="*/ 814 w 991"/>
                <a:gd name="T23" fmla="*/ 1564 h 1735"/>
                <a:gd name="T24" fmla="*/ 767 w 991"/>
                <a:gd name="T25" fmla="*/ 1626 h 1735"/>
                <a:gd name="T26" fmla="*/ 736 w 991"/>
                <a:gd name="T27" fmla="*/ 1696 h 1735"/>
                <a:gd name="T28" fmla="*/ 0 w 991"/>
                <a:gd name="T29" fmla="*/ 1735 h 1735"/>
                <a:gd name="T30" fmla="*/ 2 w 991"/>
                <a:gd name="T31" fmla="*/ 1479 h 1735"/>
                <a:gd name="T32" fmla="*/ 22 w 991"/>
                <a:gd name="T33" fmla="*/ 1427 h 1735"/>
                <a:gd name="T34" fmla="*/ 59 w 991"/>
                <a:gd name="T35" fmla="*/ 1384 h 1735"/>
                <a:gd name="T36" fmla="*/ 146 w 991"/>
                <a:gd name="T37" fmla="*/ 1316 h 1735"/>
                <a:gd name="T38" fmla="*/ 233 w 991"/>
                <a:gd name="T39" fmla="*/ 1255 h 1735"/>
                <a:gd name="T40" fmla="*/ 315 w 991"/>
                <a:gd name="T41" fmla="*/ 1202 h 1735"/>
                <a:gd name="T42" fmla="*/ 388 w 991"/>
                <a:gd name="T43" fmla="*/ 1158 h 1735"/>
                <a:gd name="T44" fmla="*/ 451 w 991"/>
                <a:gd name="T45" fmla="*/ 1122 h 1735"/>
                <a:gd name="T46" fmla="*/ 499 w 991"/>
                <a:gd name="T47" fmla="*/ 1097 h 1735"/>
                <a:gd name="T48" fmla="*/ 528 w 991"/>
                <a:gd name="T49" fmla="*/ 1082 h 1735"/>
                <a:gd name="T50" fmla="*/ 534 w 991"/>
                <a:gd name="T51" fmla="*/ 1077 h 1735"/>
                <a:gd name="T52" fmla="*/ 536 w 991"/>
                <a:gd name="T53" fmla="*/ 1069 h 1735"/>
                <a:gd name="T54" fmla="*/ 514 w 991"/>
                <a:gd name="T55" fmla="*/ 733 h 1735"/>
                <a:gd name="T56" fmla="*/ 481 w 991"/>
                <a:gd name="T57" fmla="*/ 686 h 1735"/>
                <a:gd name="T58" fmla="*/ 470 w 991"/>
                <a:gd name="T59" fmla="*/ 627 h 1735"/>
                <a:gd name="T60" fmla="*/ 473 w 991"/>
                <a:gd name="T61" fmla="*/ 253 h 1735"/>
                <a:gd name="T62" fmla="*/ 498 w 991"/>
                <a:gd name="T63" fmla="*/ 172 h 1735"/>
                <a:gd name="T64" fmla="*/ 543 w 991"/>
                <a:gd name="T65" fmla="*/ 102 h 1735"/>
                <a:gd name="T66" fmla="*/ 605 w 991"/>
                <a:gd name="T67" fmla="*/ 48 h 1735"/>
                <a:gd name="T68" fmla="*/ 681 w 991"/>
                <a:gd name="T69" fmla="*/ 12 h 1735"/>
                <a:gd name="T70" fmla="*/ 767 w 991"/>
                <a:gd name="T7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1" h="1735">
                  <a:moveTo>
                    <a:pt x="767" y="0"/>
                  </a:moveTo>
                  <a:lnTo>
                    <a:pt x="832" y="0"/>
                  </a:lnTo>
                  <a:lnTo>
                    <a:pt x="791" y="72"/>
                  </a:lnTo>
                  <a:lnTo>
                    <a:pt x="755" y="145"/>
                  </a:lnTo>
                  <a:lnTo>
                    <a:pt x="726" y="220"/>
                  </a:lnTo>
                  <a:lnTo>
                    <a:pt x="701" y="298"/>
                  </a:lnTo>
                  <a:lnTo>
                    <a:pt x="682" y="376"/>
                  </a:lnTo>
                  <a:lnTo>
                    <a:pt x="669" y="455"/>
                  </a:lnTo>
                  <a:lnTo>
                    <a:pt x="661" y="534"/>
                  </a:lnTo>
                  <a:lnTo>
                    <a:pt x="658" y="614"/>
                  </a:lnTo>
                  <a:lnTo>
                    <a:pt x="661" y="693"/>
                  </a:lnTo>
                  <a:lnTo>
                    <a:pt x="670" y="773"/>
                  </a:lnTo>
                  <a:lnTo>
                    <a:pt x="684" y="853"/>
                  </a:lnTo>
                  <a:lnTo>
                    <a:pt x="703" y="930"/>
                  </a:lnTo>
                  <a:lnTo>
                    <a:pt x="728" y="1007"/>
                  </a:lnTo>
                  <a:lnTo>
                    <a:pt x="758" y="1082"/>
                  </a:lnTo>
                  <a:lnTo>
                    <a:pt x="794" y="1155"/>
                  </a:lnTo>
                  <a:lnTo>
                    <a:pt x="835" y="1227"/>
                  </a:lnTo>
                  <a:lnTo>
                    <a:pt x="882" y="1296"/>
                  </a:lnTo>
                  <a:lnTo>
                    <a:pt x="934" y="1361"/>
                  </a:lnTo>
                  <a:lnTo>
                    <a:pt x="991" y="1424"/>
                  </a:lnTo>
                  <a:lnTo>
                    <a:pt x="917" y="1479"/>
                  </a:lnTo>
                  <a:lnTo>
                    <a:pt x="843" y="1538"/>
                  </a:lnTo>
                  <a:lnTo>
                    <a:pt x="814" y="1564"/>
                  </a:lnTo>
                  <a:lnTo>
                    <a:pt x="789" y="1594"/>
                  </a:lnTo>
                  <a:lnTo>
                    <a:pt x="767" y="1626"/>
                  </a:lnTo>
                  <a:lnTo>
                    <a:pt x="749" y="1661"/>
                  </a:lnTo>
                  <a:lnTo>
                    <a:pt x="736" y="1696"/>
                  </a:lnTo>
                  <a:lnTo>
                    <a:pt x="726" y="1735"/>
                  </a:lnTo>
                  <a:lnTo>
                    <a:pt x="0" y="1735"/>
                  </a:lnTo>
                  <a:lnTo>
                    <a:pt x="0" y="1508"/>
                  </a:lnTo>
                  <a:lnTo>
                    <a:pt x="2" y="1479"/>
                  </a:lnTo>
                  <a:lnTo>
                    <a:pt x="10" y="1453"/>
                  </a:lnTo>
                  <a:lnTo>
                    <a:pt x="22" y="1427"/>
                  </a:lnTo>
                  <a:lnTo>
                    <a:pt x="38" y="1404"/>
                  </a:lnTo>
                  <a:lnTo>
                    <a:pt x="59" y="1384"/>
                  </a:lnTo>
                  <a:lnTo>
                    <a:pt x="102" y="1349"/>
                  </a:lnTo>
                  <a:lnTo>
                    <a:pt x="146" y="1316"/>
                  </a:lnTo>
                  <a:lnTo>
                    <a:pt x="190" y="1285"/>
                  </a:lnTo>
                  <a:lnTo>
                    <a:pt x="233" y="1255"/>
                  </a:lnTo>
                  <a:lnTo>
                    <a:pt x="274" y="1227"/>
                  </a:lnTo>
                  <a:lnTo>
                    <a:pt x="315" y="1202"/>
                  </a:lnTo>
                  <a:lnTo>
                    <a:pt x="353" y="1179"/>
                  </a:lnTo>
                  <a:lnTo>
                    <a:pt x="388" y="1158"/>
                  </a:lnTo>
                  <a:lnTo>
                    <a:pt x="421" y="1139"/>
                  </a:lnTo>
                  <a:lnTo>
                    <a:pt x="451" y="1122"/>
                  </a:lnTo>
                  <a:lnTo>
                    <a:pt x="477" y="1109"/>
                  </a:lnTo>
                  <a:lnTo>
                    <a:pt x="499" y="1097"/>
                  </a:lnTo>
                  <a:lnTo>
                    <a:pt x="515" y="1089"/>
                  </a:lnTo>
                  <a:lnTo>
                    <a:pt x="528" y="1082"/>
                  </a:lnTo>
                  <a:lnTo>
                    <a:pt x="532" y="1080"/>
                  </a:lnTo>
                  <a:lnTo>
                    <a:pt x="534" y="1077"/>
                  </a:lnTo>
                  <a:lnTo>
                    <a:pt x="535" y="1074"/>
                  </a:lnTo>
                  <a:lnTo>
                    <a:pt x="536" y="1069"/>
                  </a:lnTo>
                  <a:lnTo>
                    <a:pt x="536" y="751"/>
                  </a:lnTo>
                  <a:lnTo>
                    <a:pt x="514" y="733"/>
                  </a:lnTo>
                  <a:lnTo>
                    <a:pt x="496" y="711"/>
                  </a:lnTo>
                  <a:lnTo>
                    <a:pt x="481" y="686"/>
                  </a:lnTo>
                  <a:lnTo>
                    <a:pt x="472" y="657"/>
                  </a:lnTo>
                  <a:lnTo>
                    <a:pt x="470" y="627"/>
                  </a:lnTo>
                  <a:lnTo>
                    <a:pt x="470" y="298"/>
                  </a:lnTo>
                  <a:lnTo>
                    <a:pt x="473" y="253"/>
                  </a:lnTo>
                  <a:lnTo>
                    <a:pt x="482" y="211"/>
                  </a:lnTo>
                  <a:lnTo>
                    <a:pt x="498" y="172"/>
                  </a:lnTo>
                  <a:lnTo>
                    <a:pt x="518" y="135"/>
                  </a:lnTo>
                  <a:lnTo>
                    <a:pt x="543" y="102"/>
                  </a:lnTo>
                  <a:lnTo>
                    <a:pt x="572" y="73"/>
                  </a:lnTo>
                  <a:lnTo>
                    <a:pt x="605" y="48"/>
                  </a:lnTo>
                  <a:lnTo>
                    <a:pt x="642" y="28"/>
                  </a:lnTo>
                  <a:lnTo>
                    <a:pt x="681" y="12"/>
                  </a:lnTo>
                  <a:lnTo>
                    <a:pt x="723" y="3"/>
                  </a:lnTo>
                  <a:lnTo>
                    <a:pt x="76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4636306" y="3463991"/>
            <a:ext cx="440742" cy="316802"/>
            <a:chOff x="7147096" y="3786571"/>
            <a:chExt cx="440742" cy="316802"/>
          </a:xfrm>
        </p:grpSpPr>
        <p:sp>
          <p:nvSpPr>
            <p:cNvPr id="17" name="Freeform 64"/>
            <p:cNvSpPr/>
            <p:nvPr/>
          </p:nvSpPr>
          <p:spPr bwMode="auto">
            <a:xfrm>
              <a:off x="7251689" y="4019336"/>
              <a:ext cx="231556" cy="65295"/>
            </a:xfrm>
            <a:custGeom>
              <a:avLst/>
              <a:gdLst>
                <a:gd name="T0" fmla="*/ 237 w 1916"/>
                <a:gd name="T1" fmla="*/ 0 h 542"/>
                <a:gd name="T2" fmla="*/ 300 w 1916"/>
                <a:gd name="T3" fmla="*/ 46 h 542"/>
                <a:gd name="T4" fmla="*/ 365 w 1916"/>
                <a:gd name="T5" fmla="*/ 88 h 542"/>
                <a:gd name="T6" fmla="*/ 432 w 1916"/>
                <a:gd name="T7" fmla="*/ 124 h 542"/>
                <a:gd name="T8" fmla="*/ 502 w 1916"/>
                <a:gd name="T9" fmla="*/ 157 h 542"/>
                <a:gd name="T10" fmla="*/ 574 w 1916"/>
                <a:gd name="T11" fmla="*/ 184 h 542"/>
                <a:gd name="T12" fmla="*/ 647 w 1916"/>
                <a:gd name="T13" fmla="*/ 207 h 542"/>
                <a:gd name="T14" fmla="*/ 722 w 1916"/>
                <a:gd name="T15" fmla="*/ 225 h 542"/>
                <a:gd name="T16" fmla="*/ 798 w 1916"/>
                <a:gd name="T17" fmla="*/ 238 h 542"/>
                <a:gd name="T18" fmla="*/ 877 w 1916"/>
                <a:gd name="T19" fmla="*/ 246 h 542"/>
                <a:gd name="T20" fmla="*/ 955 w 1916"/>
                <a:gd name="T21" fmla="*/ 248 h 542"/>
                <a:gd name="T22" fmla="*/ 1034 w 1916"/>
                <a:gd name="T23" fmla="*/ 246 h 542"/>
                <a:gd name="T24" fmla="*/ 1111 w 1916"/>
                <a:gd name="T25" fmla="*/ 238 h 542"/>
                <a:gd name="T26" fmla="*/ 1188 w 1916"/>
                <a:gd name="T27" fmla="*/ 225 h 542"/>
                <a:gd name="T28" fmla="*/ 1263 w 1916"/>
                <a:gd name="T29" fmla="*/ 206 h 542"/>
                <a:gd name="T30" fmla="*/ 1337 w 1916"/>
                <a:gd name="T31" fmla="*/ 184 h 542"/>
                <a:gd name="T32" fmla="*/ 1409 w 1916"/>
                <a:gd name="T33" fmla="*/ 157 h 542"/>
                <a:gd name="T34" fmla="*/ 1480 w 1916"/>
                <a:gd name="T35" fmla="*/ 123 h 542"/>
                <a:gd name="T36" fmla="*/ 1547 w 1916"/>
                <a:gd name="T37" fmla="*/ 87 h 542"/>
                <a:gd name="T38" fmla="*/ 1584 w 1916"/>
                <a:gd name="T39" fmla="*/ 122 h 542"/>
                <a:gd name="T40" fmla="*/ 1635 w 1916"/>
                <a:gd name="T41" fmla="*/ 172 h 542"/>
                <a:gd name="T42" fmla="*/ 1916 w 1916"/>
                <a:gd name="T43" fmla="*/ 454 h 542"/>
                <a:gd name="T44" fmla="*/ 1916 w 1916"/>
                <a:gd name="T45" fmla="*/ 542 h 542"/>
                <a:gd name="T46" fmla="*/ 0 w 1916"/>
                <a:gd name="T47" fmla="*/ 542 h 542"/>
                <a:gd name="T48" fmla="*/ 0 w 1916"/>
                <a:gd name="T49" fmla="*/ 273 h 542"/>
                <a:gd name="T50" fmla="*/ 2 w 1916"/>
                <a:gd name="T51" fmla="*/ 245 h 542"/>
                <a:gd name="T52" fmla="*/ 9 w 1916"/>
                <a:gd name="T53" fmla="*/ 217 h 542"/>
                <a:gd name="T54" fmla="*/ 19 w 1916"/>
                <a:gd name="T55" fmla="*/ 192 h 542"/>
                <a:gd name="T56" fmla="*/ 32 w 1916"/>
                <a:gd name="T57" fmla="*/ 168 h 542"/>
                <a:gd name="T58" fmla="*/ 50 w 1916"/>
                <a:gd name="T59" fmla="*/ 145 h 542"/>
                <a:gd name="T60" fmla="*/ 70 w 1916"/>
                <a:gd name="T61" fmla="*/ 126 h 542"/>
                <a:gd name="T62" fmla="*/ 125 w 1916"/>
                <a:gd name="T63" fmla="*/ 81 h 542"/>
                <a:gd name="T64" fmla="*/ 181 w 1916"/>
                <a:gd name="T65" fmla="*/ 39 h 542"/>
                <a:gd name="T66" fmla="*/ 237 w 1916"/>
                <a:gd name="T6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6" h="542">
                  <a:moveTo>
                    <a:pt x="237" y="0"/>
                  </a:moveTo>
                  <a:lnTo>
                    <a:pt x="300" y="46"/>
                  </a:lnTo>
                  <a:lnTo>
                    <a:pt x="365" y="88"/>
                  </a:lnTo>
                  <a:lnTo>
                    <a:pt x="432" y="124"/>
                  </a:lnTo>
                  <a:lnTo>
                    <a:pt x="502" y="157"/>
                  </a:lnTo>
                  <a:lnTo>
                    <a:pt x="574" y="184"/>
                  </a:lnTo>
                  <a:lnTo>
                    <a:pt x="647" y="207"/>
                  </a:lnTo>
                  <a:lnTo>
                    <a:pt x="722" y="225"/>
                  </a:lnTo>
                  <a:lnTo>
                    <a:pt x="798" y="238"/>
                  </a:lnTo>
                  <a:lnTo>
                    <a:pt x="877" y="246"/>
                  </a:lnTo>
                  <a:lnTo>
                    <a:pt x="955" y="248"/>
                  </a:lnTo>
                  <a:lnTo>
                    <a:pt x="1034" y="246"/>
                  </a:lnTo>
                  <a:lnTo>
                    <a:pt x="1111" y="238"/>
                  </a:lnTo>
                  <a:lnTo>
                    <a:pt x="1188" y="225"/>
                  </a:lnTo>
                  <a:lnTo>
                    <a:pt x="1263" y="206"/>
                  </a:lnTo>
                  <a:lnTo>
                    <a:pt x="1337" y="184"/>
                  </a:lnTo>
                  <a:lnTo>
                    <a:pt x="1409" y="157"/>
                  </a:lnTo>
                  <a:lnTo>
                    <a:pt x="1480" y="123"/>
                  </a:lnTo>
                  <a:lnTo>
                    <a:pt x="1547" y="87"/>
                  </a:lnTo>
                  <a:lnTo>
                    <a:pt x="1584" y="122"/>
                  </a:lnTo>
                  <a:lnTo>
                    <a:pt x="1635" y="172"/>
                  </a:lnTo>
                  <a:lnTo>
                    <a:pt x="1916" y="454"/>
                  </a:lnTo>
                  <a:lnTo>
                    <a:pt x="1916" y="542"/>
                  </a:lnTo>
                  <a:lnTo>
                    <a:pt x="0" y="542"/>
                  </a:lnTo>
                  <a:lnTo>
                    <a:pt x="0" y="273"/>
                  </a:lnTo>
                  <a:lnTo>
                    <a:pt x="2" y="245"/>
                  </a:lnTo>
                  <a:lnTo>
                    <a:pt x="9" y="217"/>
                  </a:lnTo>
                  <a:lnTo>
                    <a:pt x="19" y="192"/>
                  </a:lnTo>
                  <a:lnTo>
                    <a:pt x="32" y="168"/>
                  </a:lnTo>
                  <a:lnTo>
                    <a:pt x="50" y="145"/>
                  </a:lnTo>
                  <a:lnTo>
                    <a:pt x="70" y="126"/>
                  </a:lnTo>
                  <a:lnTo>
                    <a:pt x="125" y="81"/>
                  </a:lnTo>
                  <a:lnTo>
                    <a:pt x="181" y="39"/>
                  </a:lnTo>
                  <a:lnTo>
                    <a:pt x="23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18" name="Freeform 65"/>
            <p:cNvSpPr/>
            <p:nvPr/>
          </p:nvSpPr>
          <p:spPr bwMode="auto">
            <a:xfrm>
              <a:off x="7319403" y="3834938"/>
              <a:ext cx="96129" cy="158401"/>
            </a:xfrm>
            <a:custGeom>
              <a:avLst/>
              <a:gdLst>
                <a:gd name="T0" fmla="*/ 355 w 794"/>
                <a:gd name="T1" fmla="*/ 0 h 1308"/>
                <a:gd name="T2" fmla="*/ 440 w 794"/>
                <a:gd name="T3" fmla="*/ 0 h 1308"/>
                <a:gd name="T4" fmla="*/ 487 w 794"/>
                <a:gd name="T5" fmla="*/ 3 h 1308"/>
                <a:gd name="T6" fmla="*/ 534 w 794"/>
                <a:gd name="T7" fmla="*/ 13 h 1308"/>
                <a:gd name="T8" fmla="*/ 578 w 794"/>
                <a:gd name="T9" fmla="*/ 28 h 1308"/>
                <a:gd name="T10" fmla="*/ 619 w 794"/>
                <a:gd name="T11" fmla="*/ 49 h 1308"/>
                <a:gd name="T12" fmla="*/ 657 w 794"/>
                <a:gd name="T13" fmla="*/ 74 h 1308"/>
                <a:gd name="T14" fmla="*/ 691 w 794"/>
                <a:gd name="T15" fmla="*/ 104 h 1308"/>
                <a:gd name="T16" fmla="*/ 721 w 794"/>
                <a:gd name="T17" fmla="*/ 138 h 1308"/>
                <a:gd name="T18" fmla="*/ 746 w 794"/>
                <a:gd name="T19" fmla="*/ 176 h 1308"/>
                <a:gd name="T20" fmla="*/ 766 w 794"/>
                <a:gd name="T21" fmla="*/ 217 h 1308"/>
                <a:gd name="T22" fmla="*/ 782 w 794"/>
                <a:gd name="T23" fmla="*/ 261 h 1308"/>
                <a:gd name="T24" fmla="*/ 790 w 794"/>
                <a:gd name="T25" fmla="*/ 307 h 1308"/>
                <a:gd name="T26" fmla="*/ 794 w 794"/>
                <a:gd name="T27" fmla="*/ 356 h 1308"/>
                <a:gd name="T28" fmla="*/ 794 w 794"/>
                <a:gd name="T29" fmla="*/ 749 h 1308"/>
                <a:gd name="T30" fmla="*/ 792 w 794"/>
                <a:gd name="T31" fmla="*/ 780 h 1308"/>
                <a:gd name="T32" fmla="*/ 784 w 794"/>
                <a:gd name="T33" fmla="*/ 807 h 1308"/>
                <a:gd name="T34" fmla="*/ 772 w 794"/>
                <a:gd name="T35" fmla="*/ 834 h 1308"/>
                <a:gd name="T36" fmla="*/ 756 w 794"/>
                <a:gd name="T37" fmla="*/ 858 h 1308"/>
                <a:gd name="T38" fmla="*/ 737 w 794"/>
                <a:gd name="T39" fmla="*/ 879 h 1308"/>
                <a:gd name="T40" fmla="*/ 714 w 794"/>
                <a:gd name="T41" fmla="*/ 897 h 1308"/>
                <a:gd name="T42" fmla="*/ 714 w 794"/>
                <a:gd name="T43" fmla="*/ 1231 h 1308"/>
                <a:gd name="T44" fmla="*/ 656 w 794"/>
                <a:gd name="T45" fmla="*/ 1258 h 1308"/>
                <a:gd name="T46" fmla="*/ 592 w 794"/>
                <a:gd name="T47" fmla="*/ 1279 h 1308"/>
                <a:gd name="T48" fmla="*/ 528 w 794"/>
                <a:gd name="T49" fmla="*/ 1296 h 1308"/>
                <a:gd name="T50" fmla="*/ 462 w 794"/>
                <a:gd name="T51" fmla="*/ 1305 h 1308"/>
                <a:gd name="T52" fmla="*/ 394 w 794"/>
                <a:gd name="T53" fmla="*/ 1308 h 1308"/>
                <a:gd name="T54" fmla="*/ 328 w 794"/>
                <a:gd name="T55" fmla="*/ 1305 h 1308"/>
                <a:gd name="T56" fmla="*/ 263 w 794"/>
                <a:gd name="T57" fmla="*/ 1296 h 1308"/>
                <a:gd name="T58" fmla="*/ 200 w 794"/>
                <a:gd name="T59" fmla="*/ 1280 h 1308"/>
                <a:gd name="T60" fmla="*/ 138 w 794"/>
                <a:gd name="T61" fmla="*/ 1258 h 1308"/>
                <a:gd name="T62" fmla="*/ 79 w 794"/>
                <a:gd name="T63" fmla="*/ 1232 h 1308"/>
                <a:gd name="T64" fmla="*/ 79 w 794"/>
                <a:gd name="T65" fmla="*/ 896 h 1308"/>
                <a:gd name="T66" fmla="*/ 57 w 794"/>
                <a:gd name="T67" fmla="*/ 878 h 1308"/>
                <a:gd name="T68" fmla="*/ 37 w 794"/>
                <a:gd name="T69" fmla="*/ 857 h 1308"/>
                <a:gd name="T70" fmla="*/ 22 w 794"/>
                <a:gd name="T71" fmla="*/ 834 h 1308"/>
                <a:gd name="T72" fmla="*/ 10 w 794"/>
                <a:gd name="T73" fmla="*/ 807 h 1308"/>
                <a:gd name="T74" fmla="*/ 3 w 794"/>
                <a:gd name="T75" fmla="*/ 778 h 1308"/>
                <a:gd name="T76" fmla="*/ 0 w 794"/>
                <a:gd name="T77" fmla="*/ 749 h 1308"/>
                <a:gd name="T78" fmla="*/ 0 w 794"/>
                <a:gd name="T79" fmla="*/ 355 h 1308"/>
                <a:gd name="T80" fmla="*/ 3 w 794"/>
                <a:gd name="T81" fmla="*/ 306 h 1308"/>
                <a:gd name="T82" fmla="*/ 13 w 794"/>
                <a:gd name="T83" fmla="*/ 261 h 1308"/>
                <a:gd name="T84" fmla="*/ 28 w 794"/>
                <a:gd name="T85" fmla="*/ 217 h 1308"/>
                <a:gd name="T86" fmla="*/ 48 w 794"/>
                <a:gd name="T87" fmla="*/ 176 h 1308"/>
                <a:gd name="T88" fmla="*/ 74 w 794"/>
                <a:gd name="T89" fmla="*/ 138 h 1308"/>
                <a:gd name="T90" fmla="*/ 104 w 794"/>
                <a:gd name="T91" fmla="*/ 104 h 1308"/>
                <a:gd name="T92" fmla="*/ 138 w 794"/>
                <a:gd name="T93" fmla="*/ 74 h 1308"/>
                <a:gd name="T94" fmla="*/ 175 w 794"/>
                <a:gd name="T95" fmla="*/ 49 h 1308"/>
                <a:gd name="T96" fmla="*/ 216 w 794"/>
                <a:gd name="T97" fmla="*/ 28 h 1308"/>
                <a:gd name="T98" fmla="*/ 261 w 794"/>
                <a:gd name="T99" fmla="*/ 13 h 1308"/>
                <a:gd name="T100" fmla="*/ 307 w 794"/>
                <a:gd name="T101" fmla="*/ 3 h 1308"/>
                <a:gd name="T102" fmla="*/ 355 w 794"/>
                <a:gd name="T103" fmla="*/ 0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94" h="1308">
                  <a:moveTo>
                    <a:pt x="355" y="0"/>
                  </a:moveTo>
                  <a:lnTo>
                    <a:pt x="440" y="0"/>
                  </a:lnTo>
                  <a:lnTo>
                    <a:pt x="487" y="3"/>
                  </a:lnTo>
                  <a:lnTo>
                    <a:pt x="534" y="13"/>
                  </a:lnTo>
                  <a:lnTo>
                    <a:pt x="578" y="28"/>
                  </a:lnTo>
                  <a:lnTo>
                    <a:pt x="619" y="49"/>
                  </a:lnTo>
                  <a:lnTo>
                    <a:pt x="657" y="74"/>
                  </a:lnTo>
                  <a:lnTo>
                    <a:pt x="691" y="104"/>
                  </a:lnTo>
                  <a:lnTo>
                    <a:pt x="721" y="138"/>
                  </a:lnTo>
                  <a:lnTo>
                    <a:pt x="746" y="176"/>
                  </a:lnTo>
                  <a:lnTo>
                    <a:pt x="766" y="217"/>
                  </a:lnTo>
                  <a:lnTo>
                    <a:pt x="782" y="261"/>
                  </a:lnTo>
                  <a:lnTo>
                    <a:pt x="790" y="307"/>
                  </a:lnTo>
                  <a:lnTo>
                    <a:pt x="794" y="356"/>
                  </a:lnTo>
                  <a:lnTo>
                    <a:pt x="794" y="749"/>
                  </a:lnTo>
                  <a:lnTo>
                    <a:pt x="792" y="780"/>
                  </a:lnTo>
                  <a:lnTo>
                    <a:pt x="784" y="807"/>
                  </a:lnTo>
                  <a:lnTo>
                    <a:pt x="772" y="834"/>
                  </a:lnTo>
                  <a:lnTo>
                    <a:pt x="756" y="858"/>
                  </a:lnTo>
                  <a:lnTo>
                    <a:pt x="737" y="879"/>
                  </a:lnTo>
                  <a:lnTo>
                    <a:pt x="714" y="897"/>
                  </a:lnTo>
                  <a:lnTo>
                    <a:pt x="714" y="1231"/>
                  </a:lnTo>
                  <a:lnTo>
                    <a:pt x="656" y="1258"/>
                  </a:lnTo>
                  <a:lnTo>
                    <a:pt x="592" y="1279"/>
                  </a:lnTo>
                  <a:lnTo>
                    <a:pt x="528" y="1296"/>
                  </a:lnTo>
                  <a:lnTo>
                    <a:pt x="462" y="1305"/>
                  </a:lnTo>
                  <a:lnTo>
                    <a:pt x="394" y="1308"/>
                  </a:lnTo>
                  <a:lnTo>
                    <a:pt x="328" y="1305"/>
                  </a:lnTo>
                  <a:lnTo>
                    <a:pt x="263" y="1296"/>
                  </a:lnTo>
                  <a:lnTo>
                    <a:pt x="200" y="1280"/>
                  </a:lnTo>
                  <a:lnTo>
                    <a:pt x="138" y="1258"/>
                  </a:lnTo>
                  <a:lnTo>
                    <a:pt x="79" y="1232"/>
                  </a:lnTo>
                  <a:lnTo>
                    <a:pt x="79" y="896"/>
                  </a:lnTo>
                  <a:lnTo>
                    <a:pt x="57" y="878"/>
                  </a:lnTo>
                  <a:lnTo>
                    <a:pt x="37" y="857"/>
                  </a:lnTo>
                  <a:lnTo>
                    <a:pt x="22" y="834"/>
                  </a:lnTo>
                  <a:lnTo>
                    <a:pt x="10" y="807"/>
                  </a:lnTo>
                  <a:lnTo>
                    <a:pt x="3" y="778"/>
                  </a:lnTo>
                  <a:lnTo>
                    <a:pt x="0" y="749"/>
                  </a:lnTo>
                  <a:lnTo>
                    <a:pt x="0" y="355"/>
                  </a:lnTo>
                  <a:lnTo>
                    <a:pt x="3" y="306"/>
                  </a:lnTo>
                  <a:lnTo>
                    <a:pt x="13" y="261"/>
                  </a:lnTo>
                  <a:lnTo>
                    <a:pt x="28" y="217"/>
                  </a:lnTo>
                  <a:lnTo>
                    <a:pt x="48" y="176"/>
                  </a:lnTo>
                  <a:lnTo>
                    <a:pt x="74" y="138"/>
                  </a:lnTo>
                  <a:lnTo>
                    <a:pt x="104" y="104"/>
                  </a:lnTo>
                  <a:lnTo>
                    <a:pt x="138" y="74"/>
                  </a:lnTo>
                  <a:lnTo>
                    <a:pt x="175" y="49"/>
                  </a:lnTo>
                  <a:lnTo>
                    <a:pt x="216" y="28"/>
                  </a:lnTo>
                  <a:lnTo>
                    <a:pt x="261" y="13"/>
                  </a:lnTo>
                  <a:lnTo>
                    <a:pt x="307" y="3"/>
                  </a:lnTo>
                  <a:lnTo>
                    <a:pt x="355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19" name="Freeform 66"/>
            <p:cNvSpPr/>
            <p:nvPr/>
          </p:nvSpPr>
          <p:spPr bwMode="auto">
            <a:xfrm>
              <a:off x="7486872" y="3834938"/>
              <a:ext cx="100966" cy="209791"/>
            </a:xfrm>
            <a:custGeom>
              <a:avLst/>
              <a:gdLst>
                <a:gd name="T0" fmla="*/ 0 w 837"/>
                <a:gd name="T1" fmla="*/ 0 h 1735"/>
                <a:gd name="T2" fmla="*/ 69 w 837"/>
                <a:gd name="T3" fmla="*/ 0 h 1735"/>
                <a:gd name="T4" fmla="*/ 113 w 837"/>
                <a:gd name="T5" fmla="*/ 3 h 1735"/>
                <a:gd name="T6" fmla="*/ 155 w 837"/>
                <a:gd name="T7" fmla="*/ 12 h 1735"/>
                <a:gd name="T8" fmla="*/ 195 w 837"/>
                <a:gd name="T9" fmla="*/ 28 h 1735"/>
                <a:gd name="T10" fmla="*/ 232 w 837"/>
                <a:gd name="T11" fmla="*/ 48 h 1735"/>
                <a:gd name="T12" fmla="*/ 265 w 837"/>
                <a:gd name="T13" fmla="*/ 73 h 1735"/>
                <a:gd name="T14" fmla="*/ 294 w 837"/>
                <a:gd name="T15" fmla="*/ 102 h 1735"/>
                <a:gd name="T16" fmla="*/ 319 w 837"/>
                <a:gd name="T17" fmla="*/ 135 h 1735"/>
                <a:gd name="T18" fmla="*/ 339 w 837"/>
                <a:gd name="T19" fmla="*/ 172 h 1735"/>
                <a:gd name="T20" fmla="*/ 354 w 837"/>
                <a:gd name="T21" fmla="*/ 211 h 1735"/>
                <a:gd name="T22" fmla="*/ 363 w 837"/>
                <a:gd name="T23" fmla="*/ 253 h 1735"/>
                <a:gd name="T24" fmla="*/ 367 w 837"/>
                <a:gd name="T25" fmla="*/ 298 h 1735"/>
                <a:gd name="T26" fmla="*/ 367 w 837"/>
                <a:gd name="T27" fmla="*/ 627 h 1735"/>
                <a:gd name="T28" fmla="*/ 363 w 837"/>
                <a:gd name="T29" fmla="*/ 657 h 1735"/>
                <a:gd name="T30" fmla="*/ 354 w 837"/>
                <a:gd name="T31" fmla="*/ 686 h 1735"/>
                <a:gd name="T32" fmla="*/ 341 w 837"/>
                <a:gd name="T33" fmla="*/ 711 h 1735"/>
                <a:gd name="T34" fmla="*/ 322 w 837"/>
                <a:gd name="T35" fmla="*/ 733 h 1735"/>
                <a:gd name="T36" fmla="*/ 300 w 837"/>
                <a:gd name="T37" fmla="*/ 751 h 1735"/>
                <a:gd name="T38" fmla="*/ 300 w 837"/>
                <a:gd name="T39" fmla="*/ 1069 h 1735"/>
                <a:gd name="T40" fmla="*/ 300 w 837"/>
                <a:gd name="T41" fmla="*/ 1074 h 1735"/>
                <a:gd name="T42" fmla="*/ 302 w 837"/>
                <a:gd name="T43" fmla="*/ 1077 h 1735"/>
                <a:gd name="T44" fmla="*/ 305 w 837"/>
                <a:gd name="T45" fmla="*/ 1080 h 1735"/>
                <a:gd name="T46" fmla="*/ 308 w 837"/>
                <a:gd name="T47" fmla="*/ 1082 h 1735"/>
                <a:gd name="T48" fmla="*/ 320 w 837"/>
                <a:gd name="T49" fmla="*/ 1089 h 1735"/>
                <a:gd name="T50" fmla="*/ 338 w 837"/>
                <a:gd name="T51" fmla="*/ 1098 h 1735"/>
                <a:gd name="T52" fmla="*/ 359 w 837"/>
                <a:gd name="T53" fmla="*/ 1109 h 1735"/>
                <a:gd name="T54" fmla="*/ 385 w 837"/>
                <a:gd name="T55" fmla="*/ 1123 h 1735"/>
                <a:gd name="T56" fmla="*/ 414 w 837"/>
                <a:gd name="T57" fmla="*/ 1139 h 1735"/>
                <a:gd name="T58" fmla="*/ 447 w 837"/>
                <a:gd name="T59" fmla="*/ 1158 h 1735"/>
                <a:gd name="T60" fmla="*/ 483 w 837"/>
                <a:gd name="T61" fmla="*/ 1179 h 1735"/>
                <a:gd name="T62" fmla="*/ 521 w 837"/>
                <a:gd name="T63" fmla="*/ 1202 h 1735"/>
                <a:gd name="T64" fmla="*/ 561 w 837"/>
                <a:gd name="T65" fmla="*/ 1227 h 1735"/>
                <a:gd name="T66" fmla="*/ 603 w 837"/>
                <a:gd name="T67" fmla="*/ 1255 h 1735"/>
                <a:gd name="T68" fmla="*/ 646 w 837"/>
                <a:gd name="T69" fmla="*/ 1285 h 1735"/>
                <a:gd name="T70" fmla="*/ 689 w 837"/>
                <a:gd name="T71" fmla="*/ 1316 h 1735"/>
                <a:gd name="T72" fmla="*/ 734 w 837"/>
                <a:gd name="T73" fmla="*/ 1349 h 1735"/>
                <a:gd name="T74" fmla="*/ 778 w 837"/>
                <a:gd name="T75" fmla="*/ 1384 h 1735"/>
                <a:gd name="T76" fmla="*/ 798 w 837"/>
                <a:gd name="T77" fmla="*/ 1404 h 1735"/>
                <a:gd name="T78" fmla="*/ 814 w 837"/>
                <a:gd name="T79" fmla="*/ 1427 h 1735"/>
                <a:gd name="T80" fmla="*/ 827 w 837"/>
                <a:gd name="T81" fmla="*/ 1453 h 1735"/>
                <a:gd name="T82" fmla="*/ 833 w 837"/>
                <a:gd name="T83" fmla="*/ 1480 h 1735"/>
                <a:gd name="T84" fmla="*/ 837 w 837"/>
                <a:gd name="T85" fmla="*/ 1509 h 1735"/>
                <a:gd name="T86" fmla="*/ 837 w 837"/>
                <a:gd name="T87" fmla="*/ 1735 h 1735"/>
                <a:gd name="T88" fmla="*/ 543 w 837"/>
                <a:gd name="T89" fmla="*/ 1735 h 1735"/>
                <a:gd name="T90" fmla="*/ 11 w 837"/>
                <a:gd name="T91" fmla="*/ 1204 h 1735"/>
                <a:gd name="T92" fmla="*/ 51 w 837"/>
                <a:gd name="T93" fmla="*/ 1130 h 1735"/>
                <a:gd name="T94" fmla="*/ 86 w 837"/>
                <a:gd name="T95" fmla="*/ 1055 h 1735"/>
                <a:gd name="T96" fmla="*/ 115 w 837"/>
                <a:gd name="T97" fmla="*/ 977 h 1735"/>
                <a:gd name="T98" fmla="*/ 139 w 837"/>
                <a:gd name="T99" fmla="*/ 898 h 1735"/>
                <a:gd name="T100" fmla="*/ 156 w 837"/>
                <a:gd name="T101" fmla="*/ 816 h 1735"/>
                <a:gd name="T102" fmla="*/ 167 w 837"/>
                <a:gd name="T103" fmla="*/ 734 h 1735"/>
                <a:gd name="T104" fmla="*/ 173 w 837"/>
                <a:gd name="T105" fmla="*/ 650 h 1735"/>
                <a:gd name="T106" fmla="*/ 173 w 837"/>
                <a:gd name="T107" fmla="*/ 566 h 1735"/>
                <a:gd name="T108" fmla="*/ 166 w 837"/>
                <a:gd name="T109" fmla="*/ 480 h 1735"/>
                <a:gd name="T110" fmla="*/ 154 w 837"/>
                <a:gd name="T111" fmla="*/ 395 h 1735"/>
                <a:gd name="T112" fmla="*/ 135 w 837"/>
                <a:gd name="T113" fmla="*/ 312 h 1735"/>
                <a:gd name="T114" fmla="*/ 110 w 837"/>
                <a:gd name="T115" fmla="*/ 230 h 1735"/>
                <a:gd name="T116" fmla="*/ 79 w 837"/>
                <a:gd name="T117" fmla="*/ 152 h 1735"/>
                <a:gd name="T118" fmla="*/ 42 w 837"/>
                <a:gd name="T119" fmla="*/ 74 h 1735"/>
                <a:gd name="T120" fmla="*/ 0 w 837"/>
                <a:gd name="T12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7" h="1735">
                  <a:moveTo>
                    <a:pt x="0" y="0"/>
                  </a:moveTo>
                  <a:lnTo>
                    <a:pt x="69" y="0"/>
                  </a:lnTo>
                  <a:lnTo>
                    <a:pt x="113" y="3"/>
                  </a:lnTo>
                  <a:lnTo>
                    <a:pt x="155" y="12"/>
                  </a:lnTo>
                  <a:lnTo>
                    <a:pt x="195" y="28"/>
                  </a:lnTo>
                  <a:lnTo>
                    <a:pt x="232" y="48"/>
                  </a:lnTo>
                  <a:lnTo>
                    <a:pt x="265" y="73"/>
                  </a:lnTo>
                  <a:lnTo>
                    <a:pt x="294" y="102"/>
                  </a:lnTo>
                  <a:lnTo>
                    <a:pt x="319" y="135"/>
                  </a:lnTo>
                  <a:lnTo>
                    <a:pt x="339" y="172"/>
                  </a:lnTo>
                  <a:lnTo>
                    <a:pt x="354" y="211"/>
                  </a:lnTo>
                  <a:lnTo>
                    <a:pt x="363" y="253"/>
                  </a:lnTo>
                  <a:lnTo>
                    <a:pt x="367" y="298"/>
                  </a:lnTo>
                  <a:lnTo>
                    <a:pt x="367" y="627"/>
                  </a:lnTo>
                  <a:lnTo>
                    <a:pt x="363" y="657"/>
                  </a:lnTo>
                  <a:lnTo>
                    <a:pt x="354" y="686"/>
                  </a:lnTo>
                  <a:lnTo>
                    <a:pt x="341" y="711"/>
                  </a:lnTo>
                  <a:lnTo>
                    <a:pt x="322" y="733"/>
                  </a:lnTo>
                  <a:lnTo>
                    <a:pt x="300" y="751"/>
                  </a:lnTo>
                  <a:lnTo>
                    <a:pt x="300" y="1069"/>
                  </a:lnTo>
                  <a:lnTo>
                    <a:pt x="300" y="1074"/>
                  </a:lnTo>
                  <a:lnTo>
                    <a:pt x="302" y="1077"/>
                  </a:lnTo>
                  <a:lnTo>
                    <a:pt x="305" y="1080"/>
                  </a:lnTo>
                  <a:lnTo>
                    <a:pt x="308" y="1082"/>
                  </a:lnTo>
                  <a:lnTo>
                    <a:pt x="320" y="1089"/>
                  </a:lnTo>
                  <a:lnTo>
                    <a:pt x="338" y="1098"/>
                  </a:lnTo>
                  <a:lnTo>
                    <a:pt x="359" y="1109"/>
                  </a:lnTo>
                  <a:lnTo>
                    <a:pt x="385" y="1123"/>
                  </a:lnTo>
                  <a:lnTo>
                    <a:pt x="414" y="1139"/>
                  </a:lnTo>
                  <a:lnTo>
                    <a:pt x="447" y="1158"/>
                  </a:lnTo>
                  <a:lnTo>
                    <a:pt x="483" y="1179"/>
                  </a:lnTo>
                  <a:lnTo>
                    <a:pt x="521" y="1202"/>
                  </a:lnTo>
                  <a:lnTo>
                    <a:pt x="561" y="1227"/>
                  </a:lnTo>
                  <a:lnTo>
                    <a:pt x="603" y="1255"/>
                  </a:lnTo>
                  <a:lnTo>
                    <a:pt x="646" y="1285"/>
                  </a:lnTo>
                  <a:lnTo>
                    <a:pt x="689" y="1316"/>
                  </a:lnTo>
                  <a:lnTo>
                    <a:pt x="734" y="1349"/>
                  </a:lnTo>
                  <a:lnTo>
                    <a:pt x="778" y="1384"/>
                  </a:lnTo>
                  <a:lnTo>
                    <a:pt x="798" y="1404"/>
                  </a:lnTo>
                  <a:lnTo>
                    <a:pt x="814" y="1427"/>
                  </a:lnTo>
                  <a:lnTo>
                    <a:pt x="827" y="1453"/>
                  </a:lnTo>
                  <a:lnTo>
                    <a:pt x="833" y="1480"/>
                  </a:lnTo>
                  <a:lnTo>
                    <a:pt x="837" y="1509"/>
                  </a:lnTo>
                  <a:lnTo>
                    <a:pt x="837" y="1735"/>
                  </a:lnTo>
                  <a:lnTo>
                    <a:pt x="543" y="1735"/>
                  </a:lnTo>
                  <a:lnTo>
                    <a:pt x="11" y="1204"/>
                  </a:lnTo>
                  <a:lnTo>
                    <a:pt x="51" y="1130"/>
                  </a:lnTo>
                  <a:lnTo>
                    <a:pt x="86" y="1055"/>
                  </a:lnTo>
                  <a:lnTo>
                    <a:pt x="115" y="977"/>
                  </a:lnTo>
                  <a:lnTo>
                    <a:pt x="139" y="898"/>
                  </a:lnTo>
                  <a:lnTo>
                    <a:pt x="156" y="816"/>
                  </a:lnTo>
                  <a:lnTo>
                    <a:pt x="167" y="734"/>
                  </a:lnTo>
                  <a:lnTo>
                    <a:pt x="173" y="650"/>
                  </a:lnTo>
                  <a:lnTo>
                    <a:pt x="173" y="566"/>
                  </a:lnTo>
                  <a:lnTo>
                    <a:pt x="166" y="480"/>
                  </a:lnTo>
                  <a:lnTo>
                    <a:pt x="154" y="395"/>
                  </a:lnTo>
                  <a:lnTo>
                    <a:pt x="135" y="312"/>
                  </a:lnTo>
                  <a:lnTo>
                    <a:pt x="110" y="230"/>
                  </a:lnTo>
                  <a:lnTo>
                    <a:pt x="79" y="152"/>
                  </a:lnTo>
                  <a:lnTo>
                    <a:pt x="42" y="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0" name="Freeform 67"/>
            <p:cNvSpPr>
              <a:spLocks noEditPoints="1"/>
            </p:cNvSpPr>
            <p:nvPr/>
          </p:nvSpPr>
          <p:spPr bwMode="auto">
            <a:xfrm>
              <a:off x="7244434" y="3786571"/>
              <a:ext cx="317407" cy="316802"/>
            </a:xfrm>
            <a:custGeom>
              <a:avLst/>
              <a:gdLst>
                <a:gd name="T0" fmla="*/ 821 w 2625"/>
                <a:gd name="T1" fmla="*/ 192 h 2623"/>
                <a:gd name="T2" fmla="*/ 578 w 2625"/>
                <a:gd name="T3" fmla="*/ 290 h 2623"/>
                <a:gd name="T4" fmla="*/ 370 w 2625"/>
                <a:gd name="T5" fmla="*/ 467 h 2623"/>
                <a:gd name="T6" fmla="*/ 230 w 2625"/>
                <a:gd name="T7" fmla="*/ 696 h 2623"/>
                <a:gd name="T8" fmla="*/ 172 w 2625"/>
                <a:gd name="T9" fmla="*/ 948 h 2623"/>
                <a:gd name="T10" fmla="*/ 192 w 2625"/>
                <a:gd name="T11" fmla="*/ 1207 h 2623"/>
                <a:gd name="T12" fmla="*/ 290 w 2625"/>
                <a:gd name="T13" fmla="*/ 1450 h 2623"/>
                <a:gd name="T14" fmla="*/ 467 w 2625"/>
                <a:gd name="T15" fmla="*/ 1658 h 2623"/>
                <a:gd name="T16" fmla="*/ 696 w 2625"/>
                <a:gd name="T17" fmla="*/ 1796 h 2623"/>
                <a:gd name="T18" fmla="*/ 949 w 2625"/>
                <a:gd name="T19" fmla="*/ 1855 h 2623"/>
                <a:gd name="T20" fmla="*/ 1207 w 2625"/>
                <a:gd name="T21" fmla="*/ 1836 h 2623"/>
                <a:gd name="T22" fmla="*/ 1450 w 2625"/>
                <a:gd name="T23" fmla="*/ 1737 h 2623"/>
                <a:gd name="T24" fmla="*/ 1658 w 2625"/>
                <a:gd name="T25" fmla="*/ 1560 h 2623"/>
                <a:gd name="T26" fmla="*/ 1797 w 2625"/>
                <a:gd name="T27" fmla="*/ 1331 h 2623"/>
                <a:gd name="T28" fmla="*/ 1856 w 2625"/>
                <a:gd name="T29" fmla="*/ 1078 h 2623"/>
                <a:gd name="T30" fmla="*/ 1836 w 2625"/>
                <a:gd name="T31" fmla="*/ 820 h 2623"/>
                <a:gd name="T32" fmla="*/ 1738 w 2625"/>
                <a:gd name="T33" fmla="*/ 577 h 2623"/>
                <a:gd name="T34" fmla="*/ 1561 w 2625"/>
                <a:gd name="T35" fmla="*/ 369 h 2623"/>
                <a:gd name="T36" fmla="*/ 1332 w 2625"/>
                <a:gd name="T37" fmla="*/ 231 h 2623"/>
                <a:gd name="T38" fmla="*/ 1079 w 2625"/>
                <a:gd name="T39" fmla="*/ 172 h 2623"/>
                <a:gd name="T40" fmla="*/ 1155 w 2625"/>
                <a:gd name="T41" fmla="*/ 9 h 2623"/>
                <a:gd name="T42" fmla="*/ 1428 w 2625"/>
                <a:gd name="T43" fmla="*/ 88 h 2623"/>
                <a:gd name="T44" fmla="*/ 1675 w 2625"/>
                <a:gd name="T45" fmla="*/ 245 h 2623"/>
                <a:gd name="T46" fmla="*/ 1876 w 2625"/>
                <a:gd name="T47" fmla="*/ 480 h 2623"/>
                <a:gd name="T48" fmla="*/ 1995 w 2625"/>
                <a:gd name="T49" fmla="*/ 755 h 2623"/>
                <a:gd name="T50" fmla="*/ 2028 w 2625"/>
                <a:gd name="T51" fmla="*/ 1048 h 2623"/>
                <a:gd name="T52" fmla="*/ 1975 w 2625"/>
                <a:gd name="T53" fmla="*/ 1339 h 2623"/>
                <a:gd name="T54" fmla="*/ 1836 w 2625"/>
                <a:gd name="T55" fmla="*/ 1606 h 2623"/>
                <a:gd name="T56" fmla="*/ 1928 w 2625"/>
                <a:gd name="T57" fmla="*/ 1728 h 2623"/>
                <a:gd name="T58" fmla="*/ 2602 w 2625"/>
                <a:gd name="T59" fmla="*/ 2405 h 2623"/>
                <a:gd name="T60" fmla="*/ 2622 w 2625"/>
                <a:gd name="T61" fmla="*/ 2509 h 2623"/>
                <a:gd name="T62" fmla="*/ 2562 w 2625"/>
                <a:gd name="T63" fmla="*/ 2600 h 2623"/>
                <a:gd name="T64" fmla="*/ 2458 w 2625"/>
                <a:gd name="T65" fmla="*/ 2621 h 2623"/>
                <a:gd name="T66" fmla="*/ 1798 w 2625"/>
                <a:gd name="T67" fmla="*/ 1994 h 2623"/>
                <a:gd name="T68" fmla="*/ 1669 w 2625"/>
                <a:gd name="T69" fmla="*/ 1787 h 2623"/>
                <a:gd name="T70" fmla="*/ 1424 w 2625"/>
                <a:gd name="T71" fmla="*/ 1940 h 2623"/>
                <a:gd name="T72" fmla="*/ 1154 w 2625"/>
                <a:gd name="T73" fmla="*/ 2017 h 2623"/>
                <a:gd name="T74" fmla="*/ 873 w 2625"/>
                <a:gd name="T75" fmla="*/ 2016 h 2623"/>
                <a:gd name="T76" fmla="*/ 600 w 2625"/>
                <a:gd name="T77" fmla="*/ 1938 h 2623"/>
                <a:gd name="T78" fmla="*/ 352 w 2625"/>
                <a:gd name="T79" fmla="*/ 1781 h 2623"/>
                <a:gd name="T80" fmla="*/ 152 w 2625"/>
                <a:gd name="T81" fmla="*/ 1546 h 2623"/>
                <a:gd name="T82" fmla="*/ 34 w 2625"/>
                <a:gd name="T83" fmla="*/ 1270 h 2623"/>
                <a:gd name="T84" fmla="*/ 0 w 2625"/>
                <a:gd name="T85" fmla="*/ 976 h 2623"/>
                <a:gd name="T86" fmla="*/ 55 w 2625"/>
                <a:gd name="T87" fmla="*/ 684 h 2623"/>
                <a:gd name="T88" fmla="*/ 195 w 2625"/>
                <a:gd name="T89" fmla="*/ 415 h 2623"/>
                <a:gd name="T90" fmla="*/ 411 w 2625"/>
                <a:gd name="T91" fmla="*/ 198 h 2623"/>
                <a:gd name="T92" fmla="*/ 666 w 2625"/>
                <a:gd name="T93" fmla="*/ 61 h 2623"/>
                <a:gd name="T94" fmla="*/ 944 w 2625"/>
                <a:gd name="T95" fmla="*/ 2 h 2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25" h="2623">
                  <a:moveTo>
                    <a:pt x="1013" y="169"/>
                  </a:moveTo>
                  <a:lnTo>
                    <a:pt x="949" y="172"/>
                  </a:lnTo>
                  <a:lnTo>
                    <a:pt x="885" y="179"/>
                  </a:lnTo>
                  <a:lnTo>
                    <a:pt x="821" y="192"/>
                  </a:lnTo>
                  <a:lnTo>
                    <a:pt x="758" y="209"/>
                  </a:lnTo>
                  <a:lnTo>
                    <a:pt x="696" y="231"/>
                  </a:lnTo>
                  <a:lnTo>
                    <a:pt x="636" y="258"/>
                  </a:lnTo>
                  <a:lnTo>
                    <a:pt x="578" y="290"/>
                  </a:lnTo>
                  <a:lnTo>
                    <a:pt x="521" y="327"/>
                  </a:lnTo>
                  <a:lnTo>
                    <a:pt x="467" y="369"/>
                  </a:lnTo>
                  <a:lnTo>
                    <a:pt x="416" y="417"/>
                  </a:lnTo>
                  <a:lnTo>
                    <a:pt x="370" y="467"/>
                  </a:lnTo>
                  <a:lnTo>
                    <a:pt x="328" y="522"/>
                  </a:lnTo>
                  <a:lnTo>
                    <a:pt x="290" y="577"/>
                  </a:lnTo>
                  <a:lnTo>
                    <a:pt x="258" y="635"/>
                  </a:lnTo>
                  <a:lnTo>
                    <a:pt x="230" y="696"/>
                  </a:lnTo>
                  <a:lnTo>
                    <a:pt x="208" y="757"/>
                  </a:lnTo>
                  <a:lnTo>
                    <a:pt x="192" y="820"/>
                  </a:lnTo>
                  <a:lnTo>
                    <a:pt x="178" y="884"/>
                  </a:lnTo>
                  <a:lnTo>
                    <a:pt x="172" y="948"/>
                  </a:lnTo>
                  <a:lnTo>
                    <a:pt x="168" y="1014"/>
                  </a:lnTo>
                  <a:lnTo>
                    <a:pt x="172" y="1079"/>
                  </a:lnTo>
                  <a:lnTo>
                    <a:pt x="178" y="1143"/>
                  </a:lnTo>
                  <a:lnTo>
                    <a:pt x="192" y="1207"/>
                  </a:lnTo>
                  <a:lnTo>
                    <a:pt x="208" y="1270"/>
                  </a:lnTo>
                  <a:lnTo>
                    <a:pt x="230" y="1332"/>
                  </a:lnTo>
                  <a:lnTo>
                    <a:pt x="258" y="1392"/>
                  </a:lnTo>
                  <a:lnTo>
                    <a:pt x="290" y="1450"/>
                  </a:lnTo>
                  <a:lnTo>
                    <a:pt x="328" y="1507"/>
                  </a:lnTo>
                  <a:lnTo>
                    <a:pt x="370" y="1560"/>
                  </a:lnTo>
                  <a:lnTo>
                    <a:pt x="416" y="1610"/>
                  </a:lnTo>
                  <a:lnTo>
                    <a:pt x="467" y="1658"/>
                  </a:lnTo>
                  <a:lnTo>
                    <a:pt x="521" y="1700"/>
                  </a:lnTo>
                  <a:lnTo>
                    <a:pt x="578" y="1737"/>
                  </a:lnTo>
                  <a:lnTo>
                    <a:pt x="636" y="1769"/>
                  </a:lnTo>
                  <a:lnTo>
                    <a:pt x="696" y="1796"/>
                  </a:lnTo>
                  <a:lnTo>
                    <a:pt x="758" y="1818"/>
                  </a:lnTo>
                  <a:lnTo>
                    <a:pt x="821" y="1836"/>
                  </a:lnTo>
                  <a:lnTo>
                    <a:pt x="884" y="1848"/>
                  </a:lnTo>
                  <a:lnTo>
                    <a:pt x="949" y="1855"/>
                  </a:lnTo>
                  <a:lnTo>
                    <a:pt x="1013" y="1858"/>
                  </a:lnTo>
                  <a:lnTo>
                    <a:pt x="1079" y="1855"/>
                  </a:lnTo>
                  <a:lnTo>
                    <a:pt x="1143" y="1848"/>
                  </a:lnTo>
                  <a:lnTo>
                    <a:pt x="1207" y="1836"/>
                  </a:lnTo>
                  <a:lnTo>
                    <a:pt x="1270" y="1818"/>
                  </a:lnTo>
                  <a:lnTo>
                    <a:pt x="1332" y="1796"/>
                  </a:lnTo>
                  <a:lnTo>
                    <a:pt x="1392" y="1769"/>
                  </a:lnTo>
                  <a:lnTo>
                    <a:pt x="1450" y="1737"/>
                  </a:lnTo>
                  <a:lnTo>
                    <a:pt x="1507" y="1700"/>
                  </a:lnTo>
                  <a:lnTo>
                    <a:pt x="1560" y="1658"/>
                  </a:lnTo>
                  <a:lnTo>
                    <a:pt x="1612" y="1610"/>
                  </a:lnTo>
                  <a:lnTo>
                    <a:pt x="1658" y="1560"/>
                  </a:lnTo>
                  <a:lnTo>
                    <a:pt x="1700" y="1507"/>
                  </a:lnTo>
                  <a:lnTo>
                    <a:pt x="1738" y="1450"/>
                  </a:lnTo>
                  <a:lnTo>
                    <a:pt x="1770" y="1392"/>
                  </a:lnTo>
                  <a:lnTo>
                    <a:pt x="1797" y="1331"/>
                  </a:lnTo>
                  <a:lnTo>
                    <a:pt x="1820" y="1270"/>
                  </a:lnTo>
                  <a:lnTo>
                    <a:pt x="1836" y="1207"/>
                  </a:lnTo>
                  <a:lnTo>
                    <a:pt x="1849" y="1143"/>
                  </a:lnTo>
                  <a:lnTo>
                    <a:pt x="1856" y="1078"/>
                  </a:lnTo>
                  <a:lnTo>
                    <a:pt x="1859" y="1014"/>
                  </a:lnTo>
                  <a:lnTo>
                    <a:pt x="1856" y="948"/>
                  </a:lnTo>
                  <a:lnTo>
                    <a:pt x="1849" y="884"/>
                  </a:lnTo>
                  <a:lnTo>
                    <a:pt x="1836" y="820"/>
                  </a:lnTo>
                  <a:lnTo>
                    <a:pt x="1820" y="757"/>
                  </a:lnTo>
                  <a:lnTo>
                    <a:pt x="1797" y="695"/>
                  </a:lnTo>
                  <a:lnTo>
                    <a:pt x="1770" y="635"/>
                  </a:lnTo>
                  <a:lnTo>
                    <a:pt x="1738" y="577"/>
                  </a:lnTo>
                  <a:lnTo>
                    <a:pt x="1700" y="520"/>
                  </a:lnTo>
                  <a:lnTo>
                    <a:pt x="1658" y="467"/>
                  </a:lnTo>
                  <a:lnTo>
                    <a:pt x="1612" y="417"/>
                  </a:lnTo>
                  <a:lnTo>
                    <a:pt x="1561" y="369"/>
                  </a:lnTo>
                  <a:lnTo>
                    <a:pt x="1507" y="327"/>
                  </a:lnTo>
                  <a:lnTo>
                    <a:pt x="1450" y="290"/>
                  </a:lnTo>
                  <a:lnTo>
                    <a:pt x="1392" y="258"/>
                  </a:lnTo>
                  <a:lnTo>
                    <a:pt x="1332" y="231"/>
                  </a:lnTo>
                  <a:lnTo>
                    <a:pt x="1270" y="209"/>
                  </a:lnTo>
                  <a:lnTo>
                    <a:pt x="1207" y="192"/>
                  </a:lnTo>
                  <a:lnTo>
                    <a:pt x="1143" y="179"/>
                  </a:lnTo>
                  <a:lnTo>
                    <a:pt x="1079" y="172"/>
                  </a:lnTo>
                  <a:lnTo>
                    <a:pt x="1013" y="169"/>
                  </a:lnTo>
                  <a:close/>
                  <a:moveTo>
                    <a:pt x="1013" y="0"/>
                  </a:moveTo>
                  <a:lnTo>
                    <a:pt x="1084" y="2"/>
                  </a:lnTo>
                  <a:lnTo>
                    <a:pt x="1155" y="9"/>
                  </a:lnTo>
                  <a:lnTo>
                    <a:pt x="1225" y="22"/>
                  </a:lnTo>
                  <a:lnTo>
                    <a:pt x="1294" y="38"/>
                  </a:lnTo>
                  <a:lnTo>
                    <a:pt x="1362" y="61"/>
                  </a:lnTo>
                  <a:lnTo>
                    <a:pt x="1428" y="88"/>
                  </a:lnTo>
                  <a:lnTo>
                    <a:pt x="1494" y="119"/>
                  </a:lnTo>
                  <a:lnTo>
                    <a:pt x="1557" y="157"/>
                  </a:lnTo>
                  <a:lnTo>
                    <a:pt x="1617" y="198"/>
                  </a:lnTo>
                  <a:lnTo>
                    <a:pt x="1675" y="245"/>
                  </a:lnTo>
                  <a:lnTo>
                    <a:pt x="1731" y="296"/>
                  </a:lnTo>
                  <a:lnTo>
                    <a:pt x="1784" y="355"/>
                  </a:lnTo>
                  <a:lnTo>
                    <a:pt x="1833" y="415"/>
                  </a:lnTo>
                  <a:lnTo>
                    <a:pt x="1876" y="480"/>
                  </a:lnTo>
                  <a:lnTo>
                    <a:pt x="1914" y="545"/>
                  </a:lnTo>
                  <a:lnTo>
                    <a:pt x="1946" y="613"/>
                  </a:lnTo>
                  <a:lnTo>
                    <a:pt x="1974" y="683"/>
                  </a:lnTo>
                  <a:lnTo>
                    <a:pt x="1995" y="755"/>
                  </a:lnTo>
                  <a:lnTo>
                    <a:pt x="2011" y="827"/>
                  </a:lnTo>
                  <a:lnTo>
                    <a:pt x="2022" y="900"/>
                  </a:lnTo>
                  <a:lnTo>
                    <a:pt x="2028" y="974"/>
                  </a:lnTo>
                  <a:lnTo>
                    <a:pt x="2028" y="1048"/>
                  </a:lnTo>
                  <a:lnTo>
                    <a:pt x="2022" y="1122"/>
                  </a:lnTo>
                  <a:lnTo>
                    <a:pt x="2012" y="1195"/>
                  </a:lnTo>
                  <a:lnTo>
                    <a:pt x="1996" y="1267"/>
                  </a:lnTo>
                  <a:lnTo>
                    <a:pt x="1975" y="1339"/>
                  </a:lnTo>
                  <a:lnTo>
                    <a:pt x="1948" y="1408"/>
                  </a:lnTo>
                  <a:lnTo>
                    <a:pt x="1916" y="1477"/>
                  </a:lnTo>
                  <a:lnTo>
                    <a:pt x="1880" y="1543"/>
                  </a:lnTo>
                  <a:lnTo>
                    <a:pt x="1836" y="1606"/>
                  </a:lnTo>
                  <a:lnTo>
                    <a:pt x="1789" y="1668"/>
                  </a:lnTo>
                  <a:lnTo>
                    <a:pt x="1874" y="1753"/>
                  </a:lnTo>
                  <a:lnTo>
                    <a:pt x="1913" y="1713"/>
                  </a:lnTo>
                  <a:lnTo>
                    <a:pt x="1928" y="1728"/>
                  </a:lnTo>
                  <a:lnTo>
                    <a:pt x="1945" y="1745"/>
                  </a:lnTo>
                  <a:lnTo>
                    <a:pt x="1996" y="1796"/>
                  </a:lnTo>
                  <a:lnTo>
                    <a:pt x="2584" y="2383"/>
                  </a:lnTo>
                  <a:lnTo>
                    <a:pt x="2602" y="2405"/>
                  </a:lnTo>
                  <a:lnTo>
                    <a:pt x="2614" y="2430"/>
                  </a:lnTo>
                  <a:lnTo>
                    <a:pt x="2622" y="2456"/>
                  </a:lnTo>
                  <a:lnTo>
                    <a:pt x="2625" y="2483"/>
                  </a:lnTo>
                  <a:lnTo>
                    <a:pt x="2622" y="2509"/>
                  </a:lnTo>
                  <a:lnTo>
                    <a:pt x="2614" y="2536"/>
                  </a:lnTo>
                  <a:lnTo>
                    <a:pt x="2602" y="2560"/>
                  </a:lnTo>
                  <a:lnTo>
                    <a:pt x="2584" y="2582"/>
                  </a:lnTo>
                  <a:lnTo>
                    <a:pt x="2562" y="2600"/>
                  </a:lnTo>
                  <a:lnTo>
                    <a:pt x="2538" y="2613"/>
                  </a:lnTo>
                  <a:lnTo>
                    <a:pt x="2511" y="2621"/>
                  </a:lnTo>
                  <a:lnTo>
                    <a:pt x="2485" y="2623"/>
                  </a:lnTo>
                  <a:lnTo>
                    <a:pt x="2458" y="2621"/>
                  </a:lnTo>
                  <a:lnTo>
                    <a:pt x="2431" y="2613"/>
                  </a:lnTo>
                  <a:lnTo>
                    <a:pt x="2407" y="2600"/>
                  </a:lnTo>
                  <a:lnTo>
                    <a:pt x="2385" y="2582"/>
                  </a:lnTo>
                  <a:lnTo>
                    <a:pt x="1798" y="1994"/>
                  </a:lnTo>
                  <a:lnTo>
                    <a:pt x="1747" y="1943"/>
                  </a:lnTo>
                  <a:lnTo>
                    <a:pt x="1715" y="1911"/>
                  </a:lnTo>
                  <a:lnTo>
                    <a:pt x="1755" y="1873"/>
                  </a:lnTo>
                  <a:lnTo>
                    <a:pt x="1669" y="1787"/>
                  </a:lnTo>
                  <a:lnTo>
                    <a:pt x="1611" y="1833"/>
                  </a:lnTo>
                  <a:lnTo>
                    <a:pt x="1551" y="1874"/>
                  </a:lnTo>
                  <a:lnTo>
                    <a:pt x="1488" y="1909"/>
                  </a:lnTo>
                  <a:lnTo>
                    <a:pt x="1424" y="1940"/>
                  </a:lnTo>
                  <a:lnTo>
                    <a:pt x="1357" y="1966"/>
                  </a:lnTo>
                  <a:lnTo>
                    <a:pt x="1291" y="1989"/>
                  </a:lnTo>
                  <a:lnTo>
                    <a:pt x="1223" y="2005"/>
                  </a:lnTo>
                  <a:lnTo>
                    <a:pt x="1154" y="2017"/>
                  </a:lnTo>
                  <a:lnTo>
                    <a:pt x="1084" y="2024"/>
                  </a:lnTo>
                  <a:lnTo>
                    <a:pt x="1013" y="2026"/>
                  </a:lnTo>
                  <a:lnTo>
                    <a:pt x="944" y="2024"/>
                  </a:lnTo>
                  <a:lnTo>
                    <a:pt x="873" y="2016"/>
                  </a:lnTo>
                  <a:lnTo>
                    <a:pt x="803" y="2004"/>
                  </a:lnTo>
                  <a:lnTo>
                    <a:pt x="734" y="1987"/>
                  </a:lnTo>
                  <a:lnTo>
                    <a:pt x="666" y="1965"/>
                  </a:lnTo>
                  <a:lnTo>
                    <a:pt x="600" y="1938"/>
                  </a:lnTo>
                  <a:lnTo>
                    <a:pt x="535" y="1906"/>
                  </a:lnTo>
                  <a:lnTo>
                    <a:pt x="472" y="1869"/>
                  </a:lnTo>
                  <a:lnTo>
                    <a:pt x="411" y="1827"/>
                  </a:lnTo>
                  <a:lnTo>
                    <a:pt x="352" y="1781"/>
                  </a:lnTo>
                  <a:lnTo>
                    <a:pt x="297" y="1730"/>
                  </a:lnTo>
                  <a:lnTo>
                    <a:pt x="244" y="1671"/>
                  </a:lnTo>
                  <a:lnTo>
                    <a:pt x="195" y="1610"/>
                  </a:lnTo>
                  <a:lnTo>
                    <a:pt x="152" y="1546"/>
                  </a:lnTo>
                  <a:lnTo>
                    <a:pt x="114" y="1480"/>
                  </a:lnTo>
                  <a:lnTo>
                    <a:pt x="82" y="1411"/>
                  </a:lnTo>
                  <a:lnTo>
                    <a:pt x="55" y="1342"/>
                  </a:lnTo>
                  <a:lnTo>
                    <a:pt x="34" y="1270"/>
                  </a:lnTo>
                  <a:lnTo>
                    <a:pt x="17" y="1197"/>
                  </a:lnTo>
                  <a:lnTo>
                    <a:pt x="6" y="1124"/>
                  </a:lnTo>
                  <a:lnTo>
                    <a:pt x="0" y="1050"/>
                  </a:lnTo>
                  <a:lnTo>
                    <a:pt x="0" y="976"/>
                  </a:lnTo>
                  <a:lnTo>
                    <a:pt x="6" y="902"/>
                  </a:lnTo>
                  <a:lnTo>
                    <a:pt x="17" y="829"/>
                  </a:lnTo>
                  <a:lnTo>
                    <a:pt x="34" y="756"/>
                  </a:lnTo>
                  <a:lnTo>
                    <a:pt x="55" y="684"/>
                  </a:lnTo>
                  <a:lnTo>
                    <a:pt x="82" y="614"/>
                  </a:lnTo>
                  <a:lnTo>
                    <a:pt x="114" y="546"/>
                  </a:lnTo>
                  <a:lnTo>
                    <a:pt x="152" y="480"/>
                  </a:lnTo>
                  <a:lnTo>
                    <a:pt x="195" y="415"/>
                  </a:lnTo>
                  <a:lnTo>
                    <a:pt x="244" y="355"/>
                  </a:lnTo>
                  <a:lnTo>
                    <a:pt x="297" y="296"/>
                  </a:lnTo>
                  <a:lnTo>
                    <a:pt x="352" y="245"/>
                  </a:lnTo>
                  <a:lnTo>
                    <a:pt x="411" y="198"/>
                  </a:lnTo>
                  <a:lnTo>
                    <a:pt x="472" y="157"/>
                  </a:lnTo>
                  <a:lnTo>
                    <a:pt x="535" y="119"/>
                  </a:lnTo>
                  <a:lnTo>
                    <a:pt x="600" y="88"/>
                  </a:lnTo>
                  <a:lnTo>
                    <a:pt x="666" y="61"/>
                  </a:lnTo>
                  <a:lnTo>
                    <a:pt x="734" y="38"/>
                  </a:lnTo>
                  <a:lnTo>
                    <a:pt x="803" y="22"/>
                  </a:lnTo>
                  <a:lnTo>
                    <a:pt x="873" y="9"/>
                  </a:lnTo>
                  <a:lnTo>
                    <a:pt x="944" y="2"/>
                  </a:lnTo>
                  <a:lnTo>
                    <a:pt x="1013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1" name="Freeform 68"/>
            <p:cNvSpPr/>
            <p:nvPr/>
          </p:nvSpPr>
          <p:spPr bwMode="auto">
            <a:xfrm>
              <a:off x="7147096" y="3834938"/>
              <a:ext cx="119708" cy="209791"/>
            </a:xfrm>
            <a:custGeom>
              <a:avLst/>
              <a:gdLst>
                <a:gd name="T0" fmla="*/ 832 w 991"/>
                <a:gd name="T1" fmla="*/ 0 h 1735"/>
                <a:gd name="T2" fmla="*/ 755 w 991"/>
                <a:gd name="T3" fmla="*/ 145 h 1735"/>
                <a:gd name="T4" fmla="*/ 701 w 991"/>
                <a:gd name="T5" fmla="*/ 298 h 1735"/>
                <a:gd name="T6" fmla="*/ 669 w 991"/>
                <a:gd name="T7" fmla="*/ 455 h 1735"/>
                <a:gd name="T8" fmla="*/ 658 w 991"/>
                <a:gd name="T9" fmla="*/ 614 h 1735"/>
                <a:gd name="T10" fmla="*/ 670 w 991"/>
                <a:gd name="T11" fmla="*/ 773 h 1735"/>
                <a:gd name="T12" fmla="*/ 703 w 991"/>
                <a:gd name="T13" fmla="*/ 930 h 1735"/>
                <a:gd name="T14" fmla="*/ 758 w 991"/>
                <a:gd name="T15" fmla="*/ 1082 h 1735"/>
                <a:gd name="T16" fmla="*/ 835 w 991"/>
                <a:gd name="T17" fmla="*/ 1227 h 1735"/>
                <a:gd name="T18" fmla="*/ 934 w 991"/>
                <a:gd name="T19" fmla="*/ 1361 h 1735"/>
                <a:gd name="T20" fmla="*/ 917 w 991"/>
                <a:gd name="T21" fmla="*/ 1479 h 1735"/>
                <a:gd name="T22" fmla="*/ 814 w 991"/>
                <a:gd name="T23" fmla="*/ 1564 h 1735"/>
                <a:gd name="T24" fmla="*/ 767 w 991"/>
                <a:gd name="T25" fmla="*/ 1626 h 1735"/>
                <a:gd name="T26" fmla="*/ 736 w 991"/>
                <a:gd name="T27" fmla="*/ 1696 h 1735"/>
                <a:gd name="T28" fmla="*/ 0 w 991"/>
                <a:gd name="T29" fmla="*/ 1735 h 1735"/>
                <a:gd name="T30" fmla="*/ 2 w 991"/>
                <a:gd name="T31" fmla="*/ 1479 h 1735"/>
                <a:gd name="T32" fmla="*/ 22 w 991"/>
                <a:gd name="T33" fmla="*/ 1427 h 1735"/>
                <a:gd name="T34" fmla="*/ 59 w 991"/>
                <a:gd name="T35" fmla="*/ 1384 h 1735"/>
                <a:gd name="T36" fmla="*/ 146 w 991"/>
                <a:gd name="T37" fmla="*/ 1316 h 1735"/>
                <a:gd name="T38" fmla="*/ 233 w 991"/>
                <a:gd name="T39" fmla="*/ 1255 h 1735"/>
                <a:gd name="T40" fmla="*/ 315 w 991"/>
                <a:gd name="T41" fmla="*/ 1202 h 1735"/>
                <a:gd name="T42" fmla="*/ 388 w 991"/>
                <a:gd name="T43" fmla="*/ 1158 h 1735"/>
                <a:gd name="T44" fmla="*/ 451 w 991"/>
                <a:gd name="T45" fmla="*/ 1122 h 1735"/>
                <a:gd name="T46" fmla="*/ 499 w 991"/>
                <a:gd name="T47" fmla="*/ 1097 h 1735"/>
                <a:gd name="T48" fmla="*/ 528 w 991"/>
                <a:gd name="T49" fmla="*/ 1082 h 1735"/>
                <a:gd name="T50" fmla="*/ 534 w 991"/>
                <a:gd name="T51" fmla="*/ 1077 h 1735"/>
                <a:gd name="T52" fmla="*/ 536 w 991"/>
                <a:gd name="T53" fmla="*/ 1069 h 1735"/>
                <a:gd name="T54" fmla="*/ 514 w 991"/>
                <a:gd name="T55" fmla="*/ 733 h 1735"/>
                <a:gd name="T56" fmla="*/ 481 w 991"/>
                <a:gd name="T57" fmla="*/ 686 h 1735"/>
                <a:gd name="T58" fmla="*/ 470 w 991"/>
                <a:gd name="T59" fmla="*/ 627 h 1735"/>
                <a:gd name="T60" fmla="*/ 473 w 991"/>
                <a:gd name="T61" fmla="*/ 253 h 1735"/>
                <a:gd name="T62" fmla="*/ 498 w 991"/>
                <a:gd name="T63" fmla="*/ 172 h 1735"/>
                <a:gd name="T64" fmla="*/ 543 w 991"/>
                <a:gd name="T65" fmla="*/ 102 h 1735"/>
                <a:gd name="T66" fmla="*/ 605 w 991"/>
                <a:gd name="T67" fmla="*/ 48 h 1735"/>
                <a:gd name="T68" fmla="*/ 681 w 991"/>
                <a:gd name="T69" fmla="*/ 12 h 1735"/>
                <a:gd name="T70" fmla="*/ 767 w 991"/>
                <a:gd name="T7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1" h="1735">
                  <a:moveTo>
                    <a:pt x="767" y="0"/>
                  </a:moveTo>
                  <a:lnTo>
                    <a:pt x="832" y="0"/>
                  </a:lnTo>
                  <a:lnTo>
                    <a:pt x="791" y="72"/>
                  </a:lnTo>
                  <a:lnTo>
                    <a:pt x="755" y="145"/>
                  </a:lnTo>
                  <a:lnTo>
                    <a:pt x="726" y="220"/>
                  </a:lnTo>
                  <a:lnTo>
                    <a:pt x="701" y="298"/>
                  </a:lnTo>
                  <a:lnTo>
                    <a:pt x="682" y="376"/>
                  </a:lnTo>
                  <a:lnTo>
                    <a:pt x="669" y="455"/>
                  </a:lnTo>
                  <a:lnTo>
                    <a:pt x="661" y="534"/>
                  </a:lnTo>
                  <a:lnTo>
                    <a:pt x="658" y="614"/>
                  </a:lnTo>
                  <a:lnTo>
                    <a:pt x="661" y="693"/>
                  </a:lnTo>
                  <a:lnTo>
                    <a:pt x="670" y="773"/>
                  </a:lnTo>
                  <a:lnTo>
                    <a:pt x="684" y="853"/>
                  </a:lnTo>
                  <a:lnTo>
                    <a:pt x="703" y="930"/>
                  </a:lnTo>
                  <a:lnTo>
                    <a:pt x="728" y="1007"/>
                  </a:lnTo>
                  <a:lnTo>
                    <a:pt x="758" y="1082"/>
                  </a:lnTo>
                  <a:lnTo>
                    <a:pt x="794" y="1155"/>
                  </a:lnTo>
                  <a:lnTo>
                    <a:pt x="835" y="1227"/>
                  </a:lnTo>
                  <a:lnTo>
                    <a:pt x="882" y="1296"/>
                  </a:lnTo>
                  <a:lnTo>
                    <a:pt x="934" y="1361"/>
                  </a:lnTo>
                  <a:lnTo>
                    <a:pt x="991" y="1424"/>
                  </a:lnTo>
                  <a:lnTo>
                    <a:pt x="917" y="1479"/>
                  </a:lnTo>
                  <a:lnTo>
                    <a:pt x="843" y="1538"/>
                  </a:lnTo>
                  <a:lnTo>
                    <a:pt x="814" y="1564"/>
                  </a:lnTo>
                  <a:lnTo>
                    <a:pt x="789" y="1594"/>
                  </a:lnTo>
                  <a:lnTo>
                    <a:pt x="767" y="1626"/>
                  </a:lnTo>
                  <a:lnTo>
                    <a:pt x="749" y="1661"/>
                  </a:lnTo>
                  <a:lnTo>
                    <a:pt x="736" y="1696"/>
                  </a:lnTo>
                  <a:lnTo>
                    <a:pt x="726" y="1735"/>
                  </a:lnTo>
                  <a:lnTo>
                    <a:pt x="0" y="1735"/>
                  </a:lnTo>
                  <a:lnTo>
                    <a:pt x="0" y="1508"/>
                  </a:lnTo>
                  <a:lnTo>
                    <a:pt x="2" y="1479"/>
                  </a:lnTo>
                  <a:lnTo>
                    <a:pt x="10" y="1453"/>
                  </a:lnTo>
                  <a:lnTo>
                    <a:pt x="22" y="1427"/>
                  </a:lnTo>
                  <a:lnTo>
                    <a:pt x="38" y="1404"/>
                  </a:lnTo>
                  <a:lnTo>
                    <a:pt x="59" y="1384"/>
                  </a:lnTo>
                  <a:lnTo>
                    <a:pt x="102" y="1349"/>
                  </a:lnTo>
                  <a:lnTo>
                    <a:pt x="146" y="1316"/>
                  </a:lnTo>
                  <a:lnTo>
                    <a:pt x="190" y="1285"/>
                  </a:lnTo>
                  <a:lnTo>
                    <a:pt x="233" y="1255"/>
                  </a:lnTo>
                  <a:lnTo>
                    <a:pt x="274" y="1227"/>
                  </a:lnTo>
                  <a:lnTo>
                    <a:pt x="315" y="1202"/>
                  </a:lnTo>
                  <a:lnTo>
                    <a:pt x="353" y="1179"/>
                  </a:lnTo>
                  <a:lnTo>
                    <a:pt x="388" y="1158"/>
                  </a:lnTo>
                  <a:lnTo>
                    <a:pt x="421" y="1139"/>
                  </a:lnTo>
                  <a:lnTo>
                    <a:pt x="451" y="1122"/>
                  </a:lnTo>
                  <a:lnTo>
                    <a:pt x="477" y="1109"/>
                  </a:lnTo>
                  <a:lnTo>
                    <a:pt x="499" y="1097"/>
                  </a:lnTo>
                  <a:lnTo>
                    <a:pt x="515" y="1089"/>
                  </a:lnTo>
                  <a:lnTo>
                    <a:pt x="528" y="1082"/>
                  </a:lnTo>
                  <a:lnTo>
                    <a:pt x="532" y="1080"/>
                  </a:lnTo>
                  <a:lnTo>
                    <a:pt x="534" y="1077"/>
                  </a:lnTo>
                  <a:lnTo>
                    <a:pt x="535" y="1074"/>
                  </a:lnTo>
                  <a:lnTo>
                    <a:pt x="536" y="1069"/>
                  </a:lnTo>
                  <a:lnTo>
                    <a:pt x="536" y="751"/>
                  </a:lnTo>
                  <a:lnTo>
                    <a:pt x="514" y="733"/>
                  </a:lnTo>
                  <a:lnTo>
                    <a:pt x="496" y="711"/>
                  </a:lnTo>
                  <a:lnTo>
                    <a:pt x="481" y="686"/>
                  </a:lnTo>
                  <a:lnTo>
                    <a:pt x="472" y="657"/>
                  </a:lnTo>
                  <a:lnTo>
                    <a:pt x="470" y="627"/>
                  </a:lnTo>
                  <a:lnTo>
                    <a:pt x="470" y="298"/>
                  </a:lnTo>
                  <a:lnTo>
                    <a:pt x="473" y="253"/>
                  </a:lnTo>
                  <a:lnTo>
                    <a:pt x="482" y="211"/>
                  </a:lnTo>
                  <a:lnTo>
                    <a:pt x="498" y="172"/>
                  </a:lnTo>
                  <a:lnTo>
                    <a:pt x="518" y="135"/>
                  </a:lnTo>
                  <a:lnTo>
                    <a:pt x="543" y="102"/>
                  </a:lnTo>
                  <a:lnTo>
                    <a:pt x="572" y="73"/>
                  </a:lnTo>
                  <a:lnTo>
                    <a:pt x="605" y="48"/>
                  </a:lnTo>
                  <a:lnTo>
                    <a:pt x="642" y="28"/>
                  </a:lnTo>
                  <a:lnTo>
                    <a:pt x="681" y="12"/>
                  </a:lnTo>
                  <a:lnTo>
                    <a:pt x="723" y="3"/>
                  </a:lnTo>
                  <a:lnTo>
                    <a:pt x="76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4636306" y="4556826"/>
            <a:ext cx="440742" cy="316802"/>
            <a:chOff x="7147096" y="3786571"/>
            <a:chExt cx="440742" cy="316802"/>
          </a:xfrm>
        </p:grpSpPr>
        <p:sp>
          <p:nvSpPr>
            <p:cNvPr id="23" name="Freeform 64"/>
            <p:cNvSpPr/>
            <p:nvPr/>
          </p:nvSpPr>
          <p:spPr bwMode="auto">
            <a:xfrm>
              <a:off x="7251689" y="4019336"/>
              <a:ext cx="231556" cy="65295"/>
            </a:xfrm>
            <a:custGeom>
              <a:avLst/>
              <a:gdLst>
                <a:gd name="T0" fmla="*/ 237 w 1916"/>
                <a:gd name="T1" fmla="*/ 0 h 542"/>
                <a:gd name="T2" fmla="*/ 300 w 1916"/>
                <a:gd name="T3" fmla="*/ 46 h 542"/>
                <a:gd name="T4" fmla="*/ 365 w 1916"/>
                <a:gd name="T5" fmla="*/ 88 h 542"/>
                <a:gd name="T6" fmla="*/ 432 w 1916"/>
                <a:gd name="T7" fmla="*/ 124 h 542"/>
                <a:gd name="T8" fmla="*/ 502 w 1916"/>
                <a:gd name="T9" fmla="*/ 157 h 542"/>
                <a:gd name="T10" fmla="*/ 574 w 1916"/>
                <a:gd name="T11" fmla="*/ 184 h 542"/>
                <a:gd name="T12" fmla="*/ 647 w 1916"/>
                <a:gd name="T13" fmla="*/ 207 h 542"/>
                <a:gd name="T14" fmla="*/ 722 w 1916"/>
                <a:gd name="T15" fmla="*/ 225 h 542"/>
                <a:gd name="T16" fmla="*/ 798 w 1916"/>
                <a:gd name="T17" fmla="*/ 238 h 542"/>
                <a:gd name="T18" fmla="*/ 877 w 1916"/>
                <a:gd name="T19" fmla="*/ 246 h 542"/>
                <a:gd name="T20" fmla="*/ 955 w 1916"/>
                <a:gd name="T21" fmla="*/ 248 h 542"/>
                <a:gd name="T22" fmla="*/ 1034 w 1916"/>
                <a:gd name="T23" fmla="*/ 246 h 542"/>
                <a:gd name="T24" fmla="*/ 1111 w 1916"/>
                <a:gd name="T25" fmla="*/ 238 h 542"/>
                <a:gd name="T26" fmla="*/ 1188 w 1916"/>
                <a:gd name="T27" fmla="*/ 225 h 542"/>
                <a:gd name="T28" fmla="*/ 1263 w 1916"/>
                <a:gd name="T29" fmla="*/ 206 h 542"/>
                <a:gd name="T30" fmla="*/ 1337 w 1916"/>
                <a:gd name="T31" fmla="*/ 184 h 542"/>
                <a:gd name="T32" fmla="*/ 1409 w 1916"/>
                <a:gd name="T33" fmla="*/ 157 h 542"/>
                <a:gd name="T34" fmla="*/ 1480 w 1916"/>
                <a:gd name="T35" fmla="*/ 123 h 542"/>
                <a:gd name="T36" fmla="*/ 1547 w 1916"/>
                <a:gd name="T37" fmla="*/ 87 h 542"/>
                <a:gd name="T38" fmla="*/ 1584 w 1916"/>
                <a:gd name="T39" fmla="*/ 122 h 542"/>
                <a:gd name="T40" fmla="*/ 1635 w 1916"/>
                <a:gd name="T41" fmla="*/ 172 h 542"/>
                <a:gd name="T42" fmla="*/ 1916 w 1916"/>
                <a:gd name="T43" fmla="*/ 454 h 542"/>
                <a:gd name="T44" fmla="*/ 1916 w 1916"/>
                <a:gd name="T45" fmla="*/ 542 h 542"/>
                <a:gd name="T46" fmla="*/ 0 w 1916"/>
                <a:gd name="T47" fmla="*/ 542 h 542"/>
                <a:gd name="T48" fmla="*/ 0 w 1916"/>
                <a:gd name="T49" fmla="*/ 273 h 542"/>
                <a:gd name="T50" fmla="*/ 2 w 1916"/>
                <a:gd name="T51" fmla="*/ 245 h 542"/>
                <a:gd name="T52" fmla="*/ 9 w 1916"/>
                <a:gd name="T53" fmla="*/ 217 h 542"/>
                <a:gd name="T54" fmla="*/ 19 w 1916"/>
                <a:gd name="T55" fmla="*/ 192 h 542"/>
                <a:gd name="T56" fmla="*/ 32 w 1916"/>
                <a:gd name="T57" fmla="*/ 168 h 542"/>
                <a:gd name="T58" fmla="*/ 50 w 1916"/>
                <a:gd name="T59" fmla="*/ 145 h 542"/>
                <a:gd name="T60" fmla="*/ 70 w 1916"/>
                <a:gd name="T61" fmla="*/ 126 h 542"/>
                <a:gd name="T62" fmla="*/ 125 w 1916"/>
                <a:gd name="T63" fmla="*/ 81 h 542"/>
                <a:gd name="T64" fmla="*/ 181 w 1916"/>
                <a:gd name="T65" fmla="*/ 39 h 542"/>
                <a:gd name="T66" fmla="*/ 237 w 1916"/>
                <a:gd name="T6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6" h="542">
                  <a:moveTo>
                    <a:pt x="237" y="0"/>
                  </a:moveTo>
                  <a:lnTo>
                    <a:pt x="300" y="46"/>
                  </a:lnTo>
                  <a:lnTo>
                    <a:pt x="365" y="88"/>
                  </a:lnTo>
                  <a:lnTo>
                    <a:pt x="432" y="124"/>
                  </a:lnTo>
                  <a:lnTo>
                    <a:pt x="502" y="157"/>
                  </a:lnTo>
                  <a:lnTo>
                    <a:pt x="574" y="184"/>
                  </a:lnTo>
                  <a:lnTo>
                    <a:pt x="647" y="207"/>
                  </a:lnTo>
                  <a:lnTo>
                    <a:pt x="722" y="225"/>
                  </a:lnTo>
                  <a:lnTo>
                    <a:pt x="798" y="238"/>
                  </a:lnTo>
                  <a:lnTo>
                    <a:pt x="877" y="246"/>
                  </a:lnTo>
                  <a:lnTo>
                    <a:pt x="955" y="248"/>
                  </a:lnTo>
                  <a:lnTo>
                    <a:pt x="1034" y="246"/>
                  </a:lnTo>
                  <a:lnTo>
                    <a:pt x="1111" y="238"/>
                  </a:lnTo>
                  <a:lnTo>
                    <a:pt x="1188" y="225"/>
                  </a:lnTo>
                  <a:lnTo>
                    <a:pt x="1263" y="206"/>
                  </a:lnTo>
                  <a:lnTo>
                    <a:pt x="1337" y="184"/>
                  </a:lnTo>
                  <a:lnTo>
                    <a:pt x="1409" y="157"/>
                  </a:lnTo>
                  <a:lnTo>
                    <a:pt x="1480" y="123"/>
                  </a:lnTo>
                  <a:lnTo>
                    <a:pt x="1547" y="87"/>
                  </a:lnTo>
                  <a:lnTo>
                    <a:pt x="1584" y="122"/>
                  </a:lnTo>
                  <a:lnTo>
                    <a:pt x="1635" y="172"/>
                  </a:lnTo>
                  <a:lnTo>
                    <a:pt x="1916" y="454"/>
                  </a:lnTo>
                  <a:lnTo>
                    <a:pt x="1916" y="542"/>
                  </a:lnTo>
                  <a:lnTo>
                    <a:pt x="0" y="542"/>
                  </a:lnTo>
                  <a:lnTo>
                    <a:pt x="0" y="273"/>
                  </a:lnTo>
                  <a:lnTo>
                    <a:pt x="2" y="245"/>
                  </a:lnTo>
                  <a:lnTo>
                    <a:pt x="9" y="217"/>
                  </a:lnTo>
                  <a:lnTo>
                    <a:pt x="19" y="192"/>
                  </a:lnTo>
                  <a:lnTo>
                    <a:pt x="32" y="168"/>
                  </a:lnTo>
                  <a:lnTo>
                    <a:pt x="50" y="145"/>
                  </a:lnTo>
                  <a:lnTo>
                    <a:pt x="70" y="126"/>
                  </a:lnTo>
                  <a:lnTo>
                    <a:pt x="125" y="81"/>
                  </a:lnTo>
                  <a:lnTo>
                    <a:pt x="181" y="39"/>
                  </a:lnTo>
                  <a:lnTo>
                    <a:pt x="23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4" name="Freeform 65"/>
            <p:cNvSpPr/>
            <p:nvPr/>
          </p:nvSpPr>
          <p:spPr bwMode="auto">
            <a:xfrm>
              <a:off x="7319403" y="3834938"/>
              <a:ext cx="96129" cy="158401"/>
            </a:xfrm>
            <a:custGeom>
              <a:avLst/>
              <a:gdLst>
                <a:gd name="T0" fmla="*/ 355 w 794"/>
                <a:gd name="T1" fmla="*/ 0 h 1308"/>
                <a:gd name="T2" fmla="*/ 440 w 794"/>
                <a:gd name="T3" fmla="*/ 0 h 1308"/>
                <a:gd name="T4" fmla="*/ 487 w 794"/>
                <a:gd name="T5" fmla="*/ 3 h 1308"/>
                <a:gd name="T6" fmla="*/ 534 w 794"/>
                <a:gd name="T7" fmla="*/ 13 h 1308"/>
                <a:gd name="T8" fmla="*/ 578 w 794"/>
                <a:gd name="T9" fmla="*/ 28 h 1308"/>
                <a:gd name="T10" fmla="*/ 619 w 794"/>
                <a:gd name="T11" fmla="*/ 49 h 1308"/>
                <a:gd name="T12" fmla="*/ 657 w 794"/>
                <a:gd name="T13" fmla="*/ 74 h 1308"/>
                <a:gd name="T14" fmla="*/ 691 w 794"/>
                <a:gd name="T15" fmla="*/ 104 h 1308"/>
                <a:gd name="T16" fmla="*/ 721 w 794"/>
                <a:gd name="T17" fmla="*/ 138 h 1308"/>
                <a:gd name="T18" fmla="*/ 746 w 794"/>
                <a:gd name="T19" fmla="*/ 176 h 1308"/>
                <a:gd name="T20" fmla="*/ 766 w 794"/>
                <a:gd name="T21" fmla="*/ 217 h 1308"/>
                <a:gd name="T22" fmla="*/ 782 w 794"/>
                <a:gd name="T23" fmla="*/ 261 h 1308"/>
                <a:gd name="T24" fmla="*/ 790 w 794"/>
                <a:gd name="T25" fmla="*/ 307 h 1308"/>
                <a:gd name="T26" fmla="*/ 794 w 794"/>
                <a:gd name="T27" fmla="*/ 356 h 1308"/>
                <a:gd name="T28" fmla="*/ 794 w 794"/>
                <a:gd name="T29" fmla="*/ 749 h 1308"/>
                <a:gd name="T30" fmla="*/ 792 w 794"/>
                <a:gd name="T31" fmla="*/ 780 h 1308"/>
                <a:gd name="T32" fmla="*/ 784 w 794"/>
                <a:gd name="T33" fmla="*/ 807 h 1308"/>
                <a:gd name="T34" fmla="*/ 772 w 794"/>
                <a:gd name="T35" fmla="*/ 834 h 1308"/>
                <a:gd name="T36" fmla="*/ 756 w 794"/>
                <a:gd name="T37" fmla="*/ 858 h 1308"/>
                <a:gd name="T38" fmla="*/ 737 w 794"/>
                <a:gd name="T39" fmla="*/ 879 h 1308"/>
                <a:gd name="T40" fmla="*/ 714 w 794"/>
                <a:gd name="T41" fmla="*/ 897 h 1308"/>
                <a:gd name="T42" fmla="*/ 714 w 794"/>
                <a:gd name="T43" fmla="*/ 1231 h 1308"/>
                <a:gd name="T44" fmla="*/ 656 w 794"/>
                <a:gd name="T45" fmla="*/ 1258 h 1308"/>
                <a:gd name="T46" fmla="*/ 592 w 794"/>
                <a:gd name="T47" fmla="*/ 1279 h 1308"/>
                <a:gd name="T48" fmla="*/ 528 w 794"/>
                <a:gd name="T49" fmla="*/ 1296 h 1308"/>
                <a:gd name="T50" fmla="*/ 462 w 794"/>
                <a:gd name="T51" fmla="*/ 1305 h 1308"/>
                <a:gd name="T52" fmla="*/ 394 w 794"/>
                <a:gd name="T53" fmla="*/ 1308 h 1308"/>
                <a:gd name="T54" fmla="*/ 328 w 794"/>
                <a:gd name="T55" fmla="*/ 1305 h 1308"/>
                <a:gd name="T56" fmla="*/ 263 w 794"/>
                <a:gd name="T57" fmla="*/ 1296 h 1308"/>
                <a:gd name="T58" fmla="*/ 200 w 794"/>
                <a:gd name="T59" fmla="*/ 1280 h 1308"/>
                <a:gd name="T60" fmla="*/ 138 w 794"/>
                <a:gd name="T61" fmla="*/ 1258 h 1308"/>
                <a:gd name="T62" fmla="*/ 79 w 794"/>
                <a:gd name="T63" fmla="*/ 1232 h 1308"/>
                <a:gd name="T64" fmla="*/ 79 w 794"/>
                <a:gd name="T65" fmla="*/ 896 h 1308"/>
                <a:gd name="T66" fmla="*/ 57 w 794"/>
                <a:gd name="T67" fmla="*/ 878 h 1308"/>
                <a:gd name="T68" fmla="*/ 37 w 794"/>
                <a:gd name="T69" fmla="*/ 857 h 1308"/>
                <a:gd name="T70" fmla="*/ 22 w 794"/>
                <a:gd name="T71" fmla="*/ 834 h 1308"/>
                <a:gd name="T72" fmla="*/ 10 w 794"/>
                <a:gd name="T73" fmla="*/ 807 h 1308"/>
                <a:gd name="T74" fmla="*/ 3 w 794"/>
                <a:gd name="T75" fmla="*/ 778 h 1308"/>
                <a:gd name="T76" fmla="*/ 0 w 794"/>
                <a:gd name="T77" fmla="*/ 749 h 1308"/>
                <a:gd name="T78" fmla="*/ 0 w 794"/>
                <a:gd name="T79" fmla="*/ 355 h 1308"/>
                <a:gd name="T80" fmla="*/ 3 w 794"/>
                <a:gd name="T81" fmla="*/ 306 h 1308"/>
                <a:gd name="T82" fmla="*/ 13 w 794"/>
                <a:gd name="T83" fmla="*/ 261 h 1308"/>
                <a:gd name="T84" fmla="*/ 28 w 794"/>
                <a:gd name="T85" fmla="*/ 217 h 1308"/>
                <a:gd name="T86" fmla="*/ 48 w 794"/>
                <a:gd name="T87" fmla="*/ 176 h 1308"/>
                <a:gd name="T88" fmla="*/ 74 w 794"/>
                <a:gd name="T89" fmla="*/ 138 h 1308"/>
                <a:gd name="T90" fmla="*/ 104 w 794"/>
                <a:gd name="T91" fmla="*/ 104 h 1308"/>
                <a:gd name="T92" fmla="*/ 138 w 794"/>
                <a:gd name="T93" fmla="*/ 74 h 1308"/>
                <a:gd name="T94" fmla="*/ 175 w 794"/>
                <a:gd name="T95" fmla="*/ 49 h 1308"/>
                <a:gd name="T96" fmla="*/ 216 w 794"/>
                <a:gd name="T97" fmla="*/ 28 h 1308"/>
                <a:gd name="T98" fmla="*/ 261 w 794"/>
                <a:gd name="T99" fmla="*/ 13 h 1308"/>
                <a:gd name="T100" fmla="*/ 307 w 794"/>
                <a:gd name="T101" fmla="*/ 3 h 1308"/>
                <a:gd name="T102" fmla="*/ 355 w 794"/>
                <a:gd name="T103" fmla="*/ 0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94" h="1308">
                  <a:moveTo>
                    <a:pt x="355" y="0"/>
                  </a:moveTo>
                  <a:lnTo>
                    <a:pt x="440" y="0"/>
                  </a:lnTo>
                  <a:lnTo>
                    <a:pt x="487" y="3"/>
                  </a:lnTo>
                  <a:lnTo>
                    <a:pt x="534" y="13"/>
                  </a:lnTo>
                  <a:lnTo>
                    <a:pt x="578" y="28"/>
                  </a:lnTo>
                  <a:lnTo>
                    <a:pt x="619" y="49"/>
                  </a:lnTo>
                  <a:lnTo>
                    <a:pt x="657" y="74"/>
                  </a:lnTo>
                  <a:lnTo>
                    <a:pt x="691" y="104"/>
                  </a:lnTo>
                  <a:lnTo>
                    <a:pt x="721" y="138"/>
                  </a:lnTo>
                  <a:lnTo>
                    <a:pt x="746" y="176"/>
                  </a:lnTo>
                  <a:lnTo>
                    <a:pt x="766" y="217"/>
                  </a:lnTo>
                  <a:lnTo>
                    <a:pt x="782" y="261"/>
                  </a:lnTo>
                  <a:lnTo>
                    <a:pt x="790" y="307"/>
                  </a:lnTo>
                  <a:lnTo>
                    <a:pt x="794" y="356"/>
                  </a:lnTo>
                  <a:lnTo>
                    <a:pt x="794" y="749"/>
                  </a:lnTo>
                  <a:lnTo>
                    <a:pt x="792" y="780"/>
                  </a:lnTo>
                  <a:lnTo>
                    <a:pt x="784" y="807"/>
                  </a:lnTo>
                  <a:lnTo>
                    <a:pt x="772" y="834"/>
                  </a:lnTo>
                  <a:lnTo>
                    <a:pt x="756" y="858"/>
                  </a:lnTo>
                  <a:lnTo>
                    <a:pt x="737" y="879"/>
                  </a:lnTo>
                  <a:lnTo>
                    <a:pt x="714" y="897"/>
                  </a:lnTo>
                  <a:lnTo>
                    <a:pt x="714" y="1231"/>
                  </a:lnTo>
                  <a:lnTo>
                    <a:pt x="656" y="1258"/>
                  </a:lnTo>
                  <a:lnTo>
                    <a:pt x="592" y="1279"/>
                  </a:lnTo>
                  <a:lnTo>
                    <a:pt x="528" y="1296"/>
                  </a:lnTo>
                  <a:lnTo>
                    <a:pt x="462" y="1305"/>
                  </a:lnTo>
                  <a:lnTo>
                    <a:pt x="394" y="1308"/>
                  </a:lnTo>
                  <a:lnTo>
                    <a:pt x="328" y="1305"/>
                  </a:lnTo>
                  <a:lnTo>
                    <a:pt x="263" y="1296"/>
                  </a:lnTo>
                  <a:lnTo>
                    <a:pt x="200" y="1280"/>
                  </a:lnTo>
                  <a:lnTo>
                    <a:pt x="138" y="1258"/>
                  </a:lnTo>
                  <a:lnTo>
                    <a:pt x="79" y="1232"/>
                  </a:lnTo>
                  <a:lnTo>
                    <a:pt x="79" y="896"/>
                  </a:lnTo>
                  <a:lnTo>
                    <a:pt x="57" y="878"/>
                  </a:lnTo>
                  <a:lnTo>
                    <a:pt x="37" y="857"/>
                  </a:lnTo>
                  <a:lnTo>
                    <a:pt x="22" y="834"/>
                  </a:lnTo>
                  <a:lnTo>
                    <a:pt x="10" y="807"/>
                  </a:lnTo>
                  <a:lnTo>
                    <a:pt x="3" y="778"/>
                  </a:lnTo>
                  <a:lnTo>
                    <a:pt x="0" y="749"/>
                  </a:lnTo>
                  <a:lnTo>
                    <a:pt x="0" y="355"/>
                  </a:lnTo>
                  <a:lnTo>
                    <a:pt x="3" y="306"/>
                  </a:lnTo>
                  <a:lnTo>
                    <a:pt x="13" y="261"/>
                  </a:lnTo>
                  <a:lnTo>
                    <a:pt x="28" y="217"/>
                  </a:lnTo>
                  <a:lnTo>
                    <a:pt x="48" y="176"/>
                  </a:lnTo>
                  <a:lnTo>
                    <a:pt x="74" y="138"/>
                  </a:lnTo>
                  <a:lnTo>
                    <a:pt x="104" y="104"/>
                  </a:lnTo>
                  <a:lnTo>
                    <a:pt x="138" y="74"/>
                  </a:lnTo>
                  <a:lnTo>
                    <a:pt x="175" y="49"/>
                  </a:lnTo>
                  <a:lnTo>
                    <a:pt x="216" y="28"/>
                  </a:lnTo>
                  <a:lnTo>
                    <a:pt x="261" y="13"/>
                  </a:lnTo>
                  <a:lnTo>
                    <a:pt x="307" y="3"/>
                  </a:lnTo>
                  <a:lnTo>
                    <a:pt x="355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5" name="Freeform 66"/>
            <p:cNvSpPr/>
            <p:nvPr/>
          </p:nvSpPr>
          <p:spPr bwMode="auto">
            <a:xfrm>
              <a:off x="7486872" y="3834938"/>
              <a:ext cx="100966" cy="209791"/>
            </a:xfrm>
            <a:custGeom>
              <a:avLst/>
              <a:gdLst>
                <a:gd name="T0" fmla="*/ 0 w 837"/>
                <a:gd name="T1" fmla="*/ 0 h 1735"/>
                <a:gd name="T2" fmla="*/ 69 w 837"/>
                <a:gd name="T3" fmla="*/ 0 h 1735"/>
                <a:gd name="T4" fmla="*/ 113 w 837"/>
                <a:gd name="T5" fmla="*/ 3 h 1735"/>
                <a:gd name="T6" fmla="*/ 155 w 837"/>
                <a:gd name="T7" fmla="*/ 12 h 1735"/>
                <a:gd name="T8" fmla="*/ 195 w 837"/>
                <a:gd name="T9" fmla="*/ 28 h 1735"/>
                <a:gd name="T10" fmla="*/ 232 w 837"/>
                <a:gd name="T11" fmla="*/ 48 h 1735"/>
                <a:gd name="T12" fmla="*/ 265 w 837"/>
                <a:gd name="T13" fmla="*/ 73 h 1735"/>
                <a:gd name="T14" fmla="*/ 294 w 837"/>
                <a:gd name="T15" fmla="*/ 102 h 1735"/>
                <a:gd name="T16" fmla="*/ 319 w 837"/>
                <a:gd name="T17" fmla="*/ 135 h 1735"/>
                <a:gd name="T18" fmla="*/ 339 w 837"/>
                <a:gd name="T19" fmla="*/ 172 h 1735"/>
                <a:gd name="T20" fmla="*/ 354 w 837"/>
                <a:gd name="T21" fmla="*/ 211 h 1735"/>
                <a:gd name="T22" fmla="*/ 363 w 837"/>
                <a:gd name="T23" fmla="*/ 253 h 1735"/>
                <a:gd name="T24" fmla="*/ 367 w 837"/>
                <a:gd name="T25" fmla="*/ 298 h 1735"/>
                <a:gd name="T26" fmla="*/ 367 w 837"/>
                <a:gd name="T27" fmla="*/ 627 h 1735"/>
                <a:gd name="T28" fmla="*/ 363 w 837"/>
                <a:gd name="T29" fmla="*/ 657 h 1735"/>
                <a:gd name="T30" fmla="*/ 354 w 837"/>
                <a:gd name="T31" fmla="*/ 686 h 1735"/>
                <a:gd name="T32" fmla="*/ 341 w 837"/>
                <a:gd name="T33" fmla="*/ 711 h 1735"/>
                <a:gd name="T34" fmla="*/ 322 w 837"/>
                <a:gd name="T35" fmla="*/ 733 h 1735"/>
                <a:gd name="T36" fmla="*/ 300 w 837"/>
                <a:gd name="T37" fmla="*/ 751 h 1735"/>
                <a:gd name="T38" fmla="*/ 300 w 837"/>
                <a:gd name="T39" fmla="*/ 1069 h 1735"/>
                <a:gd name="T40" fmla="*/ 300 w 837"/>
                <a:gd name="T41" fmla="*/ 1074 h 1735"/>
                <a:gd name="T42" fmla="*/ 302 w 837"/>
                <a:gd name="T43" fmla="*/ 1077 h 1735"/>
                <a:gd name="T44" fmla="*/ 305 w 837"/>
                <a:gd name="T45" fmla="*/ 1080 h 1735"/>
                <a:gd name="T46" fmla="*/ 308 w 837"/>
                <a:gd name="T47" fmla="*/ 1082 h 1735"/>
                <a:gd name="T48" fmla="*/ 320 w 837"/>
                <a:gd name="T49" fmla="*/ 1089 h 1735"/>
                <a:gd name="T50" fmla="*/ 338 w 837"/>
                <a:gd name="T51" fmla="*/ 1098 h 1735"/>
                <a:gd name="T52" fmla="*/ 359 w 837"/>
                <a:gd name="T53" fmla="*/ 1109 h 1735"/>
                <a:gd name="T54" fmla="*/ 385 w 837"/>
                <a:gd name="T55" fmla="*/ 1123 h 1735"/>
                <a:gd name="T56" fmla="*/ 414 w 837"/>
                <a:gd name="T57" fmla="*/ 1139 h 1735"/>
                <a:gd name="T58" fmla="*/ 447 w 837"/>
                <a:gd name="T59" fmla="*/ 1158 h 1735"/>
                <a:gd name="T60" fmla="*/ 483 w 837"/>
                <a:gd name="T61" fmla="*/ 1179 h 1735"/>
                <a:gd name="T62" fmla="*/ 521 w 837"/>
                <a:gd name="T63" fmla="*/ 1202 h 1735"/>
                <a:gd name="T64" fmla="*/ 561 w 837"/>
                <a:gd name="T65" fmla="*/ 1227 h 1735"/>
                <a:gd name="T66" fmla="*/ 603 w 837"/>
                <a:gd name="T67" fmla="*/ 1255 h 1735"/>
                <a:gd name="T68" fmla="*/ 646 w 837"/>
                <a:gd name="T69" fmla="*/ 1285 h 1735"/>
                <a:gd name="T70" fmla="*/ 689 w 837"/>
                <a:gd name="T71" fmla="*/ 1316 h 1735"/>
                <a:gd name="T72" fmla="*/ 734 w 837"/>
                <a:gd name="T73" fmla="*/ 1349 h 1735"/>
                <a:gd name="T74" fmla="*/ 778 w 837"/>
                <a:gd name="T75" fmla="*/ 1384 h 1735"/>
                <a:gd name="T76" fmla="*/ 798 w 837"/>
                <a:gd name="T77" fmla="*/ 1404 h 1735"/>
                <a:gd name="T78" fmla="*/ 814 w 837"/>
                <a:gd name="T79" fmla="*/ 1427 h 1735"/>
                <a:gd name="T80" fmla="*/ 827 w 837"/>
                <a:gd name="T81" fmla="*/ 1453 h 1735"/>
                <a:gd name="T82" fmla="*/ 833 w 837"/>
                <a:gd name="T83" fmla="*/ 1480 h 1735"/>
                <a:gd name="T84" fmla="*/ 837 w 837"/>
                <a:gd name="T85" fmla="*/ 1509 h 1735"/>
                <a:gd name="T86" fmla="*/ 837 w 837"/>
                <a:gd name="T87" fmla="*/ 1735 h 1735"/>
                <a:gd name="T88" fmla="*/ 543 w 837"/>
                <a:gd name="T89" fmla="*/ 1735 h 1735"/>
                <a:gd name="T90" fmla="*/ 11 w 837"/>
                <a:gd name="T91" fmla="*/ 1204 h 1735"/>
                <a:gd name="T92" fmla="*/ 51 w 837"/>
                <a:gd name="T93" fmla="*/ 1130 h 1735"/>
                <a:gd name="T94" fmla="*/ 86 w 837"/>
                <a:gd name="T95" fmla="*/ 1055 h 1735"/>
                <a:gd name="T96" fmla="*/ 115 w 837"/>
                <a:gd name="T97" fmla="*/ 977 h 1735"/>
                <a:gd name="T98" fmla="*/ 139 w 837"/>
                <a:gd name="T99" fmla="*/ 898 h 1735"/>
                <a:gd name="T100" fmla="*/ 156 w 837"/>
                <a:gd name="T101" fmla="*/ 816 h 1735"/>
                <a:gd name="T102" fmla="*/ 167 w 837"/>
                <a:gd name="T103" fmla="*/ 734 h 1735"/>
                <a:gd name="T104" fmla="*/ 173 w 837"/>
                <a:gd name="T105" fmla="*/ 650 h 1735"/>
                <a:gd name="T106" fmla="*/ 173 w 837"/>
                <a:gd name="T107" fmla="*/ 566 h 1735"/>
                <a:gd name="T108" fmla="*/ 166 w 837"/>
                <a:gd name="T109" fmla="*/ 480 h 1735"/>
                <a:gd name="T110" fmla="*/ 154 w 837"/>
                <a:gd name="T111" fmla="*/ 395 h 1735"/>
                <a:gd name="T112" fmla="*/ 135 w 837"/>
                <a:gd name="T113" fmla="*/ 312 h 1735"/>
                <a:gd name="T114" fmla="*/ 110 w 837"/>
                <a:gd name="T115" fmla="*/ 230 h 1735"/>
                <a:gd name="T116" fmla="*/ 79 w 837"/>
                <a:gd name="T117" fmla="*/ 152 h 1735"/>
                <a:gd name="T118" fmla="*/ 42 w 837"/>
                <a:gd name="T119" fmla="*/ 74 h 1735"/>
                <a:gd name="T120" fmla="*/ 0 w 837"/>
                <a:gd name="T12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7" h="1735">
                  <a:moveTo>
                    <a:pt x="0" y="0"/>
                  </a:moveTo>
                  <a:lnTo>
                    <a:pt x="69" y="0"/>
                  </a:lnTo>
                  <a:lnTo>
                    <a:pt x="113" y="3"/>
                  </a:lnTo>
                  <a:lnTo>
                    <a:pt x="155" y="12"/>
                  </a:lnTo>
                  <a:lnTo>
                    <a:pt x="195" y="28"/>
                  </a:lnTo>
                  <a:lnTo>
                    <a:pt x="232" y="48"/>
                  </a:lnTo>
                  <a:lnTo>
                    <a:pt x="265" y="73"/>
                  </a:lnTo>
                  <a:lnTo>
                    <a:pt x="294" y="102"/>
                  </a:lnTo>
                  <a:lnTo>
                    <a:pt x="319" y="135"/>
                  </a:lnTo>
                  <a:lnTo>
                    <a:pt x="339" y="172"/>
                  </a:lnTo>
                  <a:lnTo>
                    <a:pt x="354" y="211"/>
                  </a:lnTo>
                  <a:lnTo>
                    <a:pt x="363" y="253"/>
                  </a:lnTo>
                  <a:lnTo>
                    <a:pt x="367" y="298"/>
                  </a:lnTo>
                  <a:lnTo>
                    <a:pt x="367" y="627"/>
                  </a:lnTo>
                  <a:lnTo>
                    <a:pt x="363" y="657"/>
                  </a:lnTo>
                  <a:lnTo>
                    <a:pt x="354" y="686"/>
                  </a:lnTo>
                  <a:lnTo>
                    <a:pt x="341" y="711"/>
                  </a:lnTo>
                  <a:lnTo>
                    <a:pt x="322" y="733"/>
                  </a:lnTo>
                  <a:lnTo>
                    <a:pt x="300" y="751"/>
                  </a:lnTo>
                  <a:lnTo>
                    <a:pt x="300" y="1069"/>
                  </a:lnTo>
                  <a:lnTo>
                    <a:pt x="300" y="1074"/>
                  </a:lnTo>
                  <a:lnTo>
                    <a:pt x="302" y="1077"/>
                  </a:lnTo>
                  <a:lnTo>
                    <a:pt x="305" y="1080"/>
                  </a:lnTo>
                  <a:lnTo>
                    <a:pt x="308" y="1082"/>
                  </a:lnTo>
                  <a:lnTo>
                    <a:pt x="320" y="1089"/>
                  </a:lnTo>
                  <a:lnTo>
                    <a:pt x="338" y="1098"/>
                  </a:lnTo>
                  <a:lnTo>
                    <a:pt x="359" y="1109"/>
                  </a:lnTo>
                  <a:lnTo>
                    <a:pt x="385" y="1123"/>
                  </a:lnTo>
                  <a:lnTo>
                    <a:pt x="414" y="1139"/>
                  </a:lnTo>
                  <a:lnTo>
                    <a:pt x="447" y="1158"/>
                  </a:lnTo>
                  <a:lnTo>
                    <a:pt x="483" y="1179"/>
                  </a:lnTo>
                  <a:lnTo>
                    <a:pt x="521" y="1202"/>
                  </a:lnTo>
                  <a:lnTo>
                    <a:pt x="561" y="1227"/>
                  </a:lnTo>
                  <a:lnTo>
                    <a:pt x="603" y="1255"/>
                  </a:lnTo>
                  <a:lnTo>
                    <a:pt x="646" y="1285"/>
                  </a:lnTo>
                  <a:lnTo>
                    <a:pt x="689" y="1316"/>
                  </a:lnTo>
                  <a:lnTo>
                    <a:pt x="734" y="1349"/>
                  </a:lnTo>
                  <a:lnTo>
                    <a:pt x="778" y="1384"/>
                  </a:lnTo>
                  <a:lnTo>
                    <a:pt x="798" y="1404"/>
                  </a:lnTo>
                  <a:lnTo>
                    <a:pt x="814" y="1427"/>
                  </a:lnTo>
                  <a:lnTo>
                    <a:pt x="827" y="1453"/>
                  </a:lnTo>
                  <a:lnTo>
                    <a:pt x="833" y="1480"/>
                  </a:lnTo>
                  <a:lnTo>
                    <a:pt x="837" y="1509"/>
                  </a:lnTo>
                  <a:lnTo>
                    <a:pt x="837" y="1735"/>
                  </a:lnTo>
                  <a:lnTo>
                    <a:pt x="543" y="1735"/>
                  </a:lnTo>
                  <a:lnTo>
                    <a:pt x="11" y="1204"/>
                  </a:lnTo>
                  <a:lnTo>
                    <a:pt x="51" y="1130"/>
                  </a:lnTo>
                  <a:lnTo>
                    <a:pt x="86" y="1055"/>
                  </a:lnTo>
                  <a:lnTo>
                    <a:pt x="115" y="977"/>
                  </a:lnTo>
                  <a:lnTo>
                    <a:pt x="139" y="898"/>
                  </a:lnTo>
                  <a:lnTo>
                    <a:pt x="156" y="816"/>
                  </a:lnTo>
                  <a:lnTo>
                    <a:pt x="167" y="734"/>
                  </a:lnTo>
                  <a:lnTo>
                    <a:pt x="173" y="650"/>
                  </a:lnTo>
                  <a:lnTo>
                    <a:pt x="173" y="566"/>
                  </a:lnTo>
                  <a:lnTo>
                    <a:pt x="166" y="480"/>
                  </a:lnTo>
                  <a:lnTo>
                    <a:pt x="154" y="395"/>
                  </a:lnTo>
                  <a:lnTo>
                    <a:pt x="135" y="312"/>
                  </a:lnTo>
                  <a:lnTo>
                    <a:pt x="110" y="230"/>
                  </a:lnTo>
                  <a:lnTo>
                    <a:pt x="79" y="152"/>
                  </a:lnTo>
                  <a:lnTo>
                    <a:pt x="42" y="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6" name="Freeform 67"/>
            <p:cNvSpPr>
              <a:spLocks noEditPoints="1"/>
            </p:cNvSpPr>
            <p:nvPr/>
          </p:nvSpPr>
          <p:spPr bwMode="auto">
            <a:xfrm>
              <a:off x="7244434" y="3786571"/>
              <a:ext cx="317407" cy="316802"/>
            </a:xfrm>
            <a:custGeom>
              <a:avLst/>
              <a:gdLst>
                <a:gd name="T0" fmla="*/ 821 w 2625"/>
                <a:gd name="T1" fmla="*/ 192 h 2623"/>
                <a:gd name="T2" fmla="*/ 578 w 2625"/>
                <a:gd name="T3" fmla="*/ 290 h 2623"/>
                <a:gd name="T4" fmla="*/ 370 w 2625"/>
                <a:gd name="T5" fmla="*/ 467 h 2623"/>
                <a:gd name="T6" fmla="*/ 230 w 2625"/>
                <a:gd name="T7" fmla="*/ 696 h 2623"/>
                <a:gd name="T8" fmla="*/ 172 w 2625"/>
                <a:gd name="T9" fmla="*/ 948 h 2623"/>
                <a:gd name="T10" fmla="*/ 192 w 2625"/>
                <a:gd name="T11" fmla="*/ 1207 h 2623"/>
                <a:gd name="T12" fmla="*/ 290 w 2625"/>
                <a:gd name="T13" fmla="*/ 1450 h 2623"/>
                <a:gd name="T14" fmla="*/ 467 w 2625"/>
                <a:gd name="T15" fmla="*/ 1658 h 2623"/>
                <a:gd name="T16" fmla="*/ 696 w 2625"/>
                <a:gd name="T17" fmla="*/ 1796 h 2623"/>
                <a:gd name="T18" fmla="*/ 949 w 2625"/>
                <a:gd name="T19" fmla="*/ 1855 h 2623"/>
                <a:gd name="T20" fmla="*/ 1207 w 2625"/>
                <a:gd name="T21" fmla="*/ 1836 h 2623"/>
                <a:gd name="T22" fmla="*/ 1450 w 2625"/>
                <a:gd name="T23" fmla="*/ 1737 h 2623"/>
                <a:gd name="T24" fmla="*/ 1658 w 2625"/>
                <a:gd name="T25" fmla="*/ 1560 h 2623"/>
                <a:gd name="T26" fmla="*/ 1797 w 2625"/>
                <a:gd name="T27" fmla="*/ 1331 h 2623"/>
                <a:gd name="T28" fmla="*/ 1856 w 2625"/>
                <a:gd name="T29" fmla="*/ 1078 h 2623"/>
                <a:gd name="T30" fmla="*/ 1836 w 2625"/>
                <a:gd name="T31" fmla="*/ 820 h 2623"/>
                <a:gd name="T32" fmla="*/ 1738 w 2625"/>
                <a:gd name="T33" fmla="*/ 577 h 2623"/>
                <a:gd name="T34" fmla="*/ 1561 w 2625"/>
                <a:gd name="T35" fmla="*/ 369 h 2623"/>
                <a:gd name="T36" fmla="*/ 1332 w 2625"/>
                <a:gd name="T37" fmla="*/ 231 h 2623"/>
                <a:gd name="T38" fmla="*/ 1079 w 2625"/>
                <a:gd name="T39" fmla="*/ 172 h 2623"/>
                <a:gd name="T40" fmla="*/ 1155 w 2625"/>
                <a:gd name="T41" fmla="*/ 9 h 2623"/>
                <a:gd name="T42" fmla="*/ 1428 w 2625"/>
                <a:gd name="T43" fmla="*/ 88 h 2623"/>
                <a:gd name="T44" fmla="*/ 1675 w 2625"/>
                <a:gd name="T45" fmla="*/ 245 h 2623"/>
                <a:gd name="T46" fmla="*/ 1876 w 2625"/>
                <a:gd name="T47" fmla="*/ 480 h 2623"/>
                <a:gd name="T48" fmla="*/ 1995 w 2625"/>
                <a:gd name="T49" fmla="*/ 755 h 2623"/>
                <a:gd name="T50" fmla="*/ 2028 w 2625"/>
                <a:gd name="T51" fmla="*/ 1048 h 2623"/>
                <a:gd name="T52" fmla="*/ 1975 w 2625"/>
                <a:gd name="T53" fmla="*/ 1339 h 2623"/>
                <a:gd name="T54" fmla="*/ 1836 w 2625"/>
                <a:gd name="T55" fmla="*/ 1606 h 2623"/>
                <a:gd name="T56" fmla="*/ 1928 w 2625"/>
                <a:gd name="T57" fmla="*/ 1728 h 2623"/>
                <a:gd name="T58" fmla="*/ 2602 w 2625"/>
                <a:gd name="T59" fmla="*/ 2405 h 2623"/>
                <a:gd name="T60" fmla="*/ 2622 w 2625"/>
                <a:gd name="T61" fmla="*/ 2509 h 2623"/>
                <a:gd name="T62" fmla="*/ 2562 w 2625"/>
                <a:gd name="T63" fmla="*/ 2600 h 2623"/>
                <a:gd name="T64" fmla="*/ 2458 w 2625"/>
                <a:gd name="T65" fmla="*/ 2621 h 2623"/>
                <a:gd name="T66" fmla="*/ 1798 w 2625"/>
                <a:gd name="T67" fmla="*/ 1994 h 2623"/>
                <a:gd name="T68" fmla="*/ 1669 w 2625"/>
                <a:gd name="T69" fmla="*/ 1787 h 2623"/>
                <a:gd name="T70" fmla="*/ 1424 w 2625"/>
                <a:gd name="T71" fmla="*/ 1940 h 2623"/>
                <a:gd name="T72" fmla="*/ 1154 w 2625"/>
                <a:gd name="T73" fmla="*/ 2017 h 2623"/>
                <a:gd name="T74" fmla="*/ 873 w 2625"/>
                <a:gd name="T75" fmla="*/ 2016 h 2623"/>
                <a:gd name="T76" fmla="*/ 600 w 2625"/>
                <a:gd name="T77" fmla="*/ 1938 h 2623"/>
                <a:gd name="T78" fmla="*/ 352 w 2625"/>
                <a:gd name="T79" fmla="*/ 1781 h 2623"/>
                <a:gd name="T80" fmla="*/ 152 w 2625"/>
                <a:gd name="T81" fmla="*/ 1546 h 2623"/>
                <a:gd name="T82" fmla="*/ 34 w 2625"/>
                <a:gd name="T83" fmla="*/ 1270 h 2623"/>
                <a:gd name="T84" fmla="*/ 0 w 2625"/>
                <a:gd name="T85" fmla="*/ 976 h 2623"/>
                <a:gd name="T86" fmla="*/ 55 w 2625"/>
                <a:gd name="T87" fmla="*/ 684 h 2623"/>
                <a:gd name="T88" fmla="*/ 195 w 2625"/>
                <a:gd name="T89" fmla="*/ 415 h 2623"/>
                <a:gd name="T90" fmla="*/ 411 w 2625"/>
                <a:gd name="T91" fmla="*/ 198 h 2623"/>
                <a:gd name="T92" fmla="*/ 666 w 2625"/>
                <a:gd name="T93" fmla="*/ 61 h 2623"/>
                <a:gd name="T94" fmla="*/ 944 w 2625"/>
                <a:gd name="T95" fmla="*/ 2 h 2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25" h="2623">
                  <a:moveTo>
                    <a:pt x="1013" y="169"/>
                  </a:moveTo>
                  <a:lnTo>
                    <a:pt x="949" y="172"/>
                  </a:lnTo>
                  <a:lnTo>
                    <a:pt x="885" y="179"/>
                  </a:lnTo>
                  <a:lnTo>
                    <a:pt x="821" y="192"/>
                  </a:lnTo>
                  <a:lnTo>
                    <a:pt x="758" y="209"/>
                  </a:lnTo>
                  <a:lnTo>
                    <a:pt x="696" y="231"/>
                  </a:lnTo>
                  <a:lnTo>
                    <a:pt x="636" y="258"/>
                  </a:lnTo>
                  <a:lnTo>
                    <a:pt x="578" y="290"/>
                  </a:lnTo>
                  <a:lnTo>
                    <a:pt x="521" y="327"/>
                  </a:lnTo>
                  <a:lnTo>
                    <a:pt x="467" y="369"/>
                  </a:lnTo>
                  <a:lnTo>
                    <a:pt x="416" y="417"/>
                  </a:lnTo>
                  <a:lnTo>
                    <a:pt x="370" y="467"/>
                  </a:lnTo>
                  <a:lnTo>
                    <a:pt x="328" y="522"/>
                  </a:lnTo>
                  <a:lnTo>
                    <a:pt x="290" y="577"/>
                  </a:lnTo>
                  <a:lnTo>
                    <a:pt x="258" y="635"/>
                  </a:lnTo>
                  <a:lnTo>
                    <a:pt x="230" y="696"/>
                  </a:lnTo>
                  <a:lnTo>
                    <a:pt x="208" y="757"/>
                  </a:lnTo>
                  <a:lnTo>
                    <a:pt x="192" y="820"/>
                  </a:lnTo>
                  <a:lnTo>
                    <a:pt x="178" y="884"/>
                  </a:lnTo>
                  <a:lnTo>
                    <a:pt x="172" y="948"/>
                  </a:lnTo>
                  <a:lnTo>
                    <a:pt x="168" y="1014"/>
                  </a:lnTo>
                  <a:lnTo>
                    <a:pt x="172" y="1079"/>
                  </a:lnTo>
                  <a:lnTo>
                    <a:pt x="178" y="1143"/>
                  </a:lnTo>
                  <a:lnTo>
                    <a:pt x="192" y="1207"/>
                  </a:lnTo>
                  <a:lnTo>
                    <a:pt x="208" y="1270"/>
                  </a:lnTo>
                  <a:lnTo>
                    <a:pt x="230" y="1332"/>
                  </a:lnTo>
                  <a:lnTo>
                    <a:pt x="258" y="1392"/>
                  </a:lnTo>
                  <a:lnTo>
                    <a:pt x="290" y="1450"/>
                  </a:lnTo>
                  <a:lnTo>
                    <a:pt x="328" y="1507"/>
                  </a:lnTo>
                  <a:lnTo>
                    <a:pt x="370" y="1560"/>
                  </a:lnTo>
                  <a:lnTo>
                    <a:pt x="416" y="1610"/>
                  </a:lnTo>
                  <a:lnTo>
                    <a:pt x="467" y="1658"/>
                  </a:lnTo>
                  <a:lnTo>
                    <a:pt x="521" y="1700"/>
                  </a:lnTo>
                  <a:lnTo>
                    <a:pt x="578" y="1737"/>
                  </a:lnTo>
                  <a:lnTo>
                    <a:pt x="636" y="1769"/>
                  </a:lnTo>
                  <a:lnTo>
                    <a:pt x="696" y="1796"/>
                  </a:lnTo>
                  <a:lnTo>
                    <a:pt x="758" y="1818"/>
                  </a:lnTo>
                  <a:lnTo>
                    <a:pt x="821" y="1836"/>
                  </a:lnTo>
                  <a:lnTo>
                    <a:pt x="884" y="1848"/>
                  </a:lnTo>
                  <a:lnTo>
                    <a:pt x="949" y="1855"/>
                  </a:lnTo>
                  <a:lnTo>
                    <a:pt x="1013" y="1858"/>
                  </a:lnTo>
                  <a:lnTo>
                    <a:pt x="1079" y="1855"/>
                  </a:lnTo>
                  <a:lnTo>
                    <a:pt x="1143" y="1848"/>
                  </a:lnTo>
                  <a:lnTo>
                    <a:pt x="1207" y="1836"/>
                  </a:lnTo>
                  <a:lnTo>
                    <a:pt x="1270" y="1818"/>
                  </a:lnTo>
                  <a:lnTo>
                    <a:pt x="1332" y="1796"/>
                  </a:lnTo>
                  <a:lnTo>
                    <a:pt x="1392" y="1769"/>
                  </a:lnTo>
                  <a:lnTo>
                    <a:pt x="1450" y="1737"/>
                  </a:lnTo>
                  <a:lnTo>
                    <a:pt x="1507" y="1700"/>
                  </a:lnTo>
                  <a:lnTo>
                    <a:pt x="1560" y="1658"/>
                  </a:lnTo>
                  <a:lnTo>
                    <a:pt x="1612" y="1610"/>
                  </a:lnTo>
                  <a:lnTo>
                    <a:pt x="1658" y="1560"/>
                  </a:lnTo>
                  <a:lnTo>
                    <a:pt x="1700" y="1507"/>
                  </a:lnTo>
                  <a:lnTo>
                    <a:pt x="1738" y="1450"/>
                  </a:lnTo>
                  <a:lnTo>
                    <a:pt x="1770" y="1392"/>
                  </a:lnTo>
                  <a:lnTo>
                    <a:pt x="1797" y="1331"/>
                  </a:lnTo>
                  <a:lnTo>
                    <a:pt x="1820" y="1270"/>
                  </a:lnTo>
                  <a:lnTo>
                    <a:pt x="1836" y="1207"/>
                  </a:lnTo>
                  <a:lnTo>
                    <a:pt x="1849" y="1143"/>
                  </a:lnTo>
                  <a:lnTo>
                    <a:pt x="1856" y="1078"/>
                  </a:lnTo>
                  <a:lnTo>
                    <a:pt x="1859" y="1014"/>
                  </a:lnTo>
                  <a:lnTo>
                    <a:pt x="1856" y="948"/>
                  </a:lnTo>
                  <a:lnTo>
                    <a:pt x="1849" y="884"/>
                  </a:lnTo>
                  <a:lnTo>
                    <a:pt x="1836" y="820"/>
                  </a:lnTo>
                  <a:lnTo>
                    <a:pt x="1820" y="757"/>
                  </a:lnTo>
                  <a:lnTo>
                    <a:pt x="1797" y="695"/>
                  </a:lnTo>
                  <a:lnTo>
                    <a:pt x="1770" y="635"/>
                  </a:lnTo>
                  <a:lnTo>
                    <a:pt x="1738" y="577"/>
                  </a:lnTo>
                  <a:lnTo>
                    <a:pt x="1700" y="520"/>
                  </a:lnTo>
                  <a:lnTo>
                    <a:pt x="1658" y="467"/>
                  </a:lnTo>
                  <a:lnTo>
                    <a:pt x="1612" y="417"/>
                  </a:lnTo>
                  <a:lnTo>
                    <a:pt x="1561" y="369"/>
                  </a:lnTo>
                  <a:lnTo>
                    <a:pt x="1507" y="327"/>
                  </a:lnTo>
                  <a:lnTo>
                    <a:pt x="1450" y="290"/>
                  </a:lnTo>
                  <a:lnTo>
                    <a:pt x="1392" y="258"/>
                  </a:lnTo>
                  <a:lnTo>
                    <a:pt x="1332" y="231"/>
                  </a:lnTo>
                  <a:lnTo>
                    <a:pt x="1270" y="209"/>
                  </a:lnTo>
                  <a:lnTo>
                    <a:pt x="1207" y="192"/>
                  </a:lnTo>
                  <a:lnTo>
                    <a:pt x="1143" y="179"/>
                  </a:lnTo>
                  <a:lnTo>
                    <a:pt x="1079" y="172"/>
                  </a:lnTo>
                  <a:lnTo>
                    <a:pt x="1013" y="169"/>
                  </a:lnTo>
                  <a:close/>
                  <a:moveTo>
                    <a:pt x="1013" y="0"/>
                  </a:moveTo>
                  <a:lnTo>
                    <a:pt x="1084" y="2"/>
                  </a:lnTo>
                  <a:lnTo>
                    <a:pt x="1155" y="9"/>
                  </a:lnTo>
                  <a:lnTo>
                    <a:pt x="1225" y="22"/>
                  </a:lnTo>
                  <a:lnTo>
                    <a:pt x="1294" y="38"/>
                  </a:lnTo>
                  <a:lnTo>
                    <a:pt x="1362" y="61"/>
                  </a:lnTo>
                  <a:lnTo>
                    <a:pt x="1428" y="88"/>
                  </a:lnTo>
                  <a:lnTo>
                    <a:pt x="1494" y="119"/>
                  </a:lnTo>
                  <a:lnTo>
                    <a:pt x="1557" y="157"/>
                  </a:lnTo>
                  <a:lnTo>
                    <a:pt x="1617" y="198"/>
                  </a:lnTo>
                  <a:lnTo>
                    <a:pt x="1675" y="245"/>
                  </a:lnTo>
                  <a:lnTo>
                    <a:pt x="1731" y="296"/>
                  </a:lnTo>
                  <a:lnTo>
                    <a:pt x="1784" y="355"/>
                  </a:lnTo>
                  <a:lnTo>
                    <a:pt x="1833" y="415"/>
                  </a:lnTo>
                  <a:lnTo>
                    <a:pt x="1876" y="480"/>
                  </a:lnTo>
                  <a:lnTo>
                    <a:pt x="1914" y="545"/>
                  </a:lnTo>
                  <a:lnTo>
                    <a:pt x="1946" y="613"/>
                  </a:lnTo>
                  <a:lnTo>
                    <a:pt x="1974" y="683"/>
                  </a:lnTo>
                  <a:lnTo>
                    <a:pt x="1995" y="755"/>
                  </a:lnTo>
                  <a:lnTo>
                    <a:pt x="2011" y="827"/>
                  </a:lnTo>
                  <a:lnTo>
                    <a:pt x="2022" y="900"/>
                  </a:lnTo>
                  <a:lnTo>
                    <a:pt x="2028" y="974"/>
                  </a:lnTo>
                  <a:lnTo>
                    <a:pt x="2028" y="1048"/>
                  </a:lnTo>
                  <a:lnTo>
                    <a:pt x="2022" y="1122"/>
                  </a:lnTo>
                  <a:lnTo>
                    <a:pt x="2012" y="1195"/>
                  </a:lnTo>
                  <a:lnTo>
                    <a:pt x="1996" y="1267"/>
                  </a:lnTo>
                  <a:lnTo>
                    <a:pt x="1975" y="1339"/>
                  </a:lnTo>
                  <a:lnTo>
                    <a:pt x="1948" y="1408"/>
                  </a:lnTo>
                  <a:lnTo>
                    <a:pt x="1916" y="1477"/>
                  </a:lnTo>
                  <a:lnTo>
                    <a:pt x="1880" y="1543"/>
                  </a:lnTo>
                  <a:lnTo>
                    <a:pt x="1836" y="1606"/>
                  </a:lnTo>
                  <a:lnTo>
                    <a:pt x="1789" y="1668"/>
                  </a:lnTo>
                  <a:lnTo>
                    <a:pt x="1874" y="1753"/>
                  </a:lnTo>
                  <a:lnTo>
                    <a:pt x="1913" y="1713"/>
                  </a:lnTo>
                  <a:lnTo>
                    <a:pt x="1928" y="1728"/>
                  </a:lnTo>
                  <a:lnTo>
                    <a:pt x="1945" y="1745"/>
                  </a:lnTo>
                  <a:lnTo>
                    <a:pt x="1996" y="1796"/>
                  </a:lnTo>
                  <a:lnTo>
                    <a:pt x="2584" y="2383"/>
                  </a:lnTo>
                  <a:lnTo>
                    <a:pt x="2602" y="2405"/>
                  </a:lnTo>
                  <a:lnTo>
                    <a:pt x="2614" y="2430"/>
                  </a:lnTo>
                  <a:lnTo>
                    <a:pt x="2622" y="2456"/>
                  </a:lnTo>
                  <a:lnTo>
                    <a:pt x="2625" y="2483"/>
                  </a:lnTo>
                  <a:lnTo>
                    <a:pt x="2622" y="2509"/>
                  </a:lnTo>
                  <a:lnTo>
                    <a:pt x="2614" y="2536"/>
                  </a:lnTo>
                  <a:lnTo>
                    <a:pt x="2602" y="2560"/>
                  </a:lnTo>
                  <a:lnTo>
                    <a:pt x="2584" y="2582"/>
                  </a:lnTo>
                  <a:lnTo>
                    <a:pt x="2562" y="2600"/>
                  </a:lnTo>
                  <a:lnTo>
                    <a:pt x="2538" y="2613"/>
                  </a:lnTo>
                  <a:lnTo>
                    <a:pt x="2511" y="2621"/>
                  </a:lnTo>
                  <a:lnTo>
                    <a:pt x="2485" y="2623"/>
                  </a:lnTo>
                  <a:lnTo>
                    <a:pt x="2458" y="2621"/>
                  </a:lnTo>
                  <a:lnTo>
                    <a:pt x="2431" y="2613"/>
                  </a:lnTo>
                  <a:lnTo>
                    <a:pt x="2407" y="2600"/>
                  </a:lnTo>
                  <a:lnTo>
                    <a:pt x="2385" y="2582"/>
                  </a:lnTo>
                  <a:lnTo>
                    <a:pt x="1798" y="1994"/>
                  </a:lnTo>
                  <a:lnTo>
                    <a:pt x="1747" y="1943"/>
                  </a:lnTo>
                  <a:lnTo>
                    <a:pt x="1715" y="1911"/>
                  </a:lnTo>
                  <a:lnTo>
                    <a:pt x="1755" y="1873"/>
                  </a:lnTo>
                  <a:lnTo>
                    <a:pt x="1669" y="1787"/>
                  </a:lnTo>
                  <a:lnTo>
                    <a:pt x="1611" y="1833"/>
                  </a:lnTo>
                  <a:lnTo>
                    <a:pt x="1551" y="1874"/>
                  </a:lnTo>
                  <a:lnTo>
                    <a:pt x="1488" y="1909"/>
                  </a:lnTo>
                  <a:lnTo>
                    <a:pt x="1424" y="1940"/>
                  </a:lnTo>
                  <a:lnTo>
                    <a:pt x="1357" y="1966"/>
                  </a:lnTo>
                  <a:lnTo>
                    <a:pt x="1291" y="1989"/>
                  </a:lnTo>
                  <a:lnTo>
                    <a:pt x="1223" y="2005"/>
                  </a:lnTo>
                  <a:lnTo>
                    <a:pt x="1154" y="2017"/>
                  </a:lnTo>
                  <a:lnTo>
                    <a:pt x="1084" y="2024"/>
                  </a:lnTo>
                  <a:lnTo>
                    <a:pt x="1013" y="2026"/>
                  </a:lnTo>
                  <a:lnTo>
                    <a:pt x="944" y="2024"/>
                  </a:lnTo>
                  <a:lnTo>
                    <a:pt x="873" y="2016"/>
                  </a:lnTo>
                  <a:lnTo>
                    <a:pt x="803" y="2004"/>
                  </a:lnTo>
                  <a:lnTo>
                    <a:pt x="734" y="1987"/>
                  </a:lnTo>
                  <a:lnTo>
                    <a:pt x="666" y="1965"/>
                  </a:lnTo>
                  <a:lnTo>
                    <a:pt x="600" y="1938"/>
                  </a:lnTo>
                  <a:lnTo>
                    <a:pt x="535" y="1906"/>
                  </a:lnTo>
                  <a:lnTo>
                    <a:pt x="472" y="1869"/>
                  </a:lnTo>
                  <a:lnTo>
                    <a:pt x="411" y="1827"/>
                  </a:lnTo>
                  <a:lnTo>
                    <a:pt x="352" y="1781"/>
                  </a:lnTo>
                  <a:lnTo>
                    <a:pt x="297" y="1730"/>
                  </a:lnTo>
                  <a:lnTo>
                    <a:pt x="244" y="1671"/>
                  </a:lnTo>
                  <a:lnTo>
                    <a:pt x="195" y="1610"/>
                  </a:lnTo>
                  <a:lnTo>
                    <a:pt x="152" y="1546"/>
                  </a:lnTo>
                  <a:lnTo>
                    <a:pt x="114" y="1480"/>
                  </a:lnTo>
                  <a:lnTo>
                    <a:pt x="82" y="1411"/>
                  </a:lnTo>
                  <a:lnTo>
                    <a:pt x="55" y="1342"/>
                  </a:lnTo>
                  <a:lnTo>
                    <a:pt x="34" y="1270"/>
                  </a:lnTo>
                  <a:lnTo>
                    <a:pt x="17" y="1197"/>
                  </a:lnTo>
                  <a:lnTo>
                    <a:pt x="6" y="1124"/>
                  </a:lnTo>
                  <a:lnTo>
                    <a:pt x="0" y="1050"/>
                  </a:lnTo>
                  <a:lnTo>
                    <a:pt x="0" y="976"/>
                  </a:lnTo>
                  <a:lnTo>
                    <a:pt x="6" y="902"/>
                  </a:lnTo>
                  <a:lnTo>
                    <a:pt x="17" y="829"/>
                  </a:lnTo>
                  <a:lnTo>
                    <a:pt x="34" y="756"/>
                  </a:lnTo>
                  <a:lnTo>
                    <a:pt x="55" y="684"/>
                  </a:lnTo>
                  <a:lnTo>
                    <a:pt x="82" y="614"/>
                  </a:lnTo>
                  <a:lnTo>
                    <a:pt x="114" y="546"/>
                  </a:lnTo>
                  <a:lnTo>
                    <a:pt x="152" y="480"/>
                  </a:lnTo>
                  <a:lnTo>
                    <a:pt x="195" y="415"/>
                  </a:lnTo>
                  <a:lnTo>
                    <a:pt x="244" y="355"/>
                  </a:lnTo>
                  <a:lnTo>
                    <a:pt x="297" y="296"/>
                  </a:lnTo>
                  <a:lnTo>
                    <a:pt x="352" y="245"/>
                  </a:lnTo>
                  <a:lnTo>
                    <a:pt x="411" y="198"/>
                  </a:lnTo>
                  <a:lnTo>
                    <a:pt x="472" y="157"/>
                  </a:lnTo>
                  <a:lnTo>
                    <a:pt x="535" y="119"/>
                  </a:lnTo>
                  <a:lnTo>
                    <a:pt x="600" y="88"/>
                  </a:lnTo>
                  <a:lnTo>
                    <a:pt x="666" y="61"/>
                  </a:lnTo>
                  <a:lnTo>
                    <a:pt x="734" y="38"/>
                  </a:lnTo>
                  <a:lnTo>
                    <a:pt x="803" y="22"/>
                  </a:lnTo>
                  <a:lnTo>
                    <a:pt x="873" y="9"/>
                  </a:lnTo>
                  <a:lnTo>
                    <a:pt x="944" y="2"/>
                  </a:lnTo>
                  <a:lnTo>
                    <a:pt x="1013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7" name="Freeform 68"/>
            <p:cNvSpPr/>
            <p:nvPr/>
          </p:nvSpPr>
          <p:spPr bwMode="auto">
            <a:xfrm>
              <a:off x="7147096" y="3834938"/>
              <a:ext cx="119708" cy="209791"/>
            </a:xfrm>
            <a:custGeom>
              <a:avLst/>
              <a:gdLst>
                <a:gd name="T0" fmla="*/ 832 w 991"/>
                <a:gd name="T1" fmla="*/ 0 h 1735"/>
                <a:gd name="T2" fmla="*/ 755 w 991"/>
                <a:gd name="T3" fmla="*/ 145 h 1735"/>
                <a:gd name="T4" fmla="*/ 701 w 991"/>
                <a:gd name="T5" fmla="*/ 298 h 1735"/>
                <a:gd name="T6" fmla="*/ 669 w 991"/>
                <a:gd name="T7" fmla="*/ 455 h 1735"/>
                <a:gd name="T8" fmla="*/ 658 w 991"/>
                <a:gd name="T9" fmla="*/ 614 h 1735"/>
                <a:gd name="T10" fmla="*/ 670 w 991"/>
                <a:gd name="T11" fmla="*/ 773 h 1735"/>
                <a:gd name="T12" fmla="*/ 703 w 991"/>
                <a:gd name="T13" fmla="*/ 930 h 1735"/>
                <a:gd name="T14" fmla="*/ 758 w 991"/>
                <a:gd name="T15" fmla="*/ 1082 h 1735"/>
                <a:gd name="T16" fmla="*/ 835 w 991"/>
                <a:gd name="T17" fmla="*/ 1227 h 1735"/>
                <a:gd name="T18" fmla="*/ 934 w 991"/>
                <a:gd name="T19" fmla="*/ 1361 h 1735"/>
                <a:gd name="T20" fmla="*/ 917 w 991"/>
                <a:gd name="T21" fmla="*/ 1479 h 1735"/>
                <a:gd name="T22" fmla="*/ 814 w 991"/>
                <a:gd name="T23" fmla="*/ 1564 h 1735"/>
                <a:gd name="T24" fmla="*/ 767 w 991"/>
                <a:gd name="T25" fmla="*/ 1626 h 1735"/>
                <a:gd name="T26" fmla="*/ 736 w 991"/>
                <a:gd name="T27" fmla="*/ 1696 h 1735"/>
                <a:gd name="T28" fmla="*/ 0 w 991"/>
                <a:gd name="T29" fmla="*/ 1735 h 1735"/>
                <a:gd name="T30" fmla="*/ 2 w 991"/>
                <a:gd name="T31" fmla="*/ 1479 h 1735"/>
                <a:gd name="T32" fmla="*/ 22 w 991"/>
                <a:gd name="T33" fmla="*/ 1427 h 1735"/>
                <a:gd name="T34" fmla="*/ 59 w 991"/>
                <a:gd name="T35" fmla="*/ 1384 h 1735"/>
                <a:gd name="T36" fmla="*/ 146 w 991"/>
                <a:gd name="T37" fmla="*/ 1316 h 1735"/>
                <a:gd name="T38" fmla="*/ 233 w 991"/>
                <a:gd name="T39" fmla="*/ 1255 h 1735"/>
                <a:gd name="T40" fmla="*/ 315 w 991"/>
                <a:gd name="T41" fmla="*/ 1202 h 1735"/>
                <a:gd name="T42" fmla="*/ 388 w 991"/>
                <a:gd name="T43" fmla="*/ 1158 h 1735"/>
                <a:gd name="T44" fmla="*/ 451 w 991"/>
                <a:gd name="T45" fmla="*/ 1122 h 1735"/>
                <a:gd name="T46" fmla="*/ 499 w 991"/>
                <a:gd name="T47" fmla="*/ 1097 h 1735"/>
                <a:gd name="T48" fmla="*/ 528 w 991"/>
                <a:gd name="T49" fmla="*/ 1082 h 1735"/>
                <a:gd name="T50" fmla="*/ 534 w 991"/>
                <a:gd name="T51" fmla="*/ 1077 h 1735"/>
                <a:gd name="T52" fmla="*/ 536 w 991"/>
                <a:gd name="T53" fmla="*/ 1069 h 1735"/>
                <a:gd name="T54" fmla="*/ 514 w 991"/>
                <a:gd name="T55" fmla="*/ 733 h 1735"/>
                <a:gd name="T56" fmla="*/ 481 w 991"/>
                <a:gd name="T57" fmla="*/ 686 h 1735"/>
                <a:gd name="T58" fmla="*/ 470 w 991"/>
                <a:gd name="T59" fmla="*/ 627 h 1735"/>
                <a:gd name="T60" fmla="*/ 473 w 991"/>
                <a:gd name="T61" fmla="*/ 253 h 1735"/>
                <a:gd name="T62" fmla="*/ 498 w 991"/>
                <a:gd name="T63" fmla="*/ 172 h 1735"/>
                <a:gd name="T64" fmla="*/ 543 w 991"/>
                <a:gd name="T65" fmla="*/ 102 h 1735"/>
                <a:gd name="T66" fmla="*/ 605 w 991"/>
                <a:gd name="T67" fmla="*/ 48 h 1735"/>
                <a:gd name="T68" fmla="*/ 681 w 991"/>
                <a:gd name="T69" fmla="*/ 12 h 1735"/>
                <a:gd name="T70" fmla="*/ 767 w 991"/>
                <a:gd name="T7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1" h="1735">
                  <a:moveTo>
                    <a:pt x="767" y="0"/>
                  </a:moveTo>
                  <a:lnTo>
                    <a:pt x="832" y="0"/>
                  </a:lnTo>
                  <a:lnTo>
                    <a:pt x="791" y="72"/>
                  </a:lnTo>
                  <a:lnTo>
                    <a:pt x="755" y="145"/>
                  </a:lnTo>
                  <a:lnTo>
                    <a:pt x="726" y="220"/>
                  </a:lnTo>
                  <a:lnTo>
                    <a:pt x="701" y="298"/>
                  </a:lnTo>
                  <a:lnTo>
                    <a:pt x="682" y="376"/>
                  </a:lnTo>
                  <a:lnTo>
                    <a:pt x="669" y="455"/>
                  </a:lnTo>
                  <a:lnTo>
                    <a:pt x="661" y="534"/>
                  </a:lnTo>
                  <a:lnTo>
                    <a:pt x="658" y="614"/>
                  </a:lnTo>
                  <a:lnTo>
                    <a:pt x="661" y="693"/>
                  </a:lnTo>
                  <a:lnTo>
                    <a:pt x="670" y="773"/>
                  </a:lnTo>
                  <a:lnTo>
                    <a:pt x="684" y="853"/>
                  </a:lnTo>
                  <a:lnTo>
                    <a:pt x="703" y="930"/>
                  </a:lnTo>
                  <a:lnTo>
                    <a:pt x="728" y="1007"/>
                  </a:lnTo>
                  <a:lnTo>
                    <a:pt x="758" y="1082"/>
                  </a:lnTo>
                  <a:lnTo>
                    <a:pt x="794" y="1155"/>
                  </a:lnTo>
                  <a:lnTo>
                    <a:pt x="835" y="1227"/>
                  </a:lnTo>
                  <a:lnTo>
                    <a:pt x="882" y="1296"/>
                  </a:lnTo>
                  <a:lnTo>
                    <a:pt x="934" y="1361"/>
                  </a:lnTo>
                  <a:lnTo>
                    <a:pt x="991" y="1424"/>
                  </a:lnTo>
                  <a:lnTo>
                    <a:pt x="917" y="1479"/>
                  </a:lnTo>
                  <a:lnTo>
                    <a:pt x="843" y="1538"/>
                  </a:lnTo>
                  <a:lnTo>
                    <a:pt x="814" y="1564"/>
                  </a:lnTo>
                  <a:lnTo>
                    <a:pt x="789" y="1594"/>
                  </a:lnTo>
                  <a:lnTo>
                    <a:pt x="767" y="1626"/>
                  </a:lnTo>
                  <a:lnTo>
                    <a:pt x="749" y="1661"/>
                  </a:lnTo>
                  <a:lnTo>
                    <a:pt x="736" y="1696"/>
                  </a:lnTo>
                  <a:lnTo>
                    <a:pt x="726" y="1735"/>
                  </a:lnTo>
                  <a:lnTo>
                    <a:pt x="0" y="1735"/>
                  </a:lnTo>
                  <a:lnTo>
                    <a:pt x="0" y="1508"/>
                  </a:lnTo>
                  <a:lnTo>
                    <a:pt x="2" y="1479"/>
                  </a:lnTo>
                  <a:lnTo>
                    <a:pt x="10" y="1453"/>
                  </a:lnTo>
                  <a:lnTo>
                    <a:pt x="22" y="1427"/>
                  </a:lnTo>
                  <a:lnTo>
                    <a:pt x="38" y="1404"/>
                  </a:lnTo>
                  <a:lnTo>
                    <a:pt x="59" y="1384"/>
                  </a:lnTo>
                  <a:lnTo>
                    <a:pt x="102" y="1349"/>
                  </a:lnTo>
                  <a:lnTo>
                    <a:pt x="146" y="1316"/>
                  </a:lnTo>
                  <a:lnTo>
                    <a:pt x="190" y="1285"/>
                  </a:lnTo>
                  <a:lnTo>
                    <a:pt x="233" y="1255"/>
                  </a:lnTo>
                  <a:lnTo>
                    <a:pt x="274" y="1227"/>
                  </a:lnTo>
                  <a:lnTo>
                    <a:pt x="315" y="1202"/>
                  </a:lnTo>
                  <a:lnTo>
                    <a:pt x="353" y="1179"/>
                  </a:lnTo>
                  <a:lnTo>
                    <a:pt x="388" y="1158"/>
                  </a:lnTo>
                  <a:lnTo>
                    <a:pt x="421" y="1139"/>
                  </a:lnTo>
                  <a:lnTo>
                    <a:pt x="451" y="1122"/>
                  </a:lnTo>
                  <a:lnTo>
                    <a:pt x="477" y="1109"/>
                  </a:lnTo>
                  <a:lnTo>
                    <a:pt x="499" y="1097"/>
                  </a:lnTo>
                  <a:lnTo>
                    <a:pt x="515" y="1089"/>
                  </a:lnTo>
                  <a:lnTo>
                    <a:pt x="528" y="1082"/>
                  </a:lnTo>
                  <a:lnTo>
                    <a:pt x="532" y="1080"/>
                  </a:lnTo>
                  <a:lnTo>
                    <a:pt x="534" y="1077"/>
                  </a:lnTo>
                  <a:lnTo>
                    <a:pt x="535" y="1074"/>
                  </a:lnTo>
                  <a:lnTo>
                    <a:pt x="536" y="1069"/>
                  </a:lnTo>
                  <a:lnTo>
                    <a:pt x="536" y="751"/>
                  </a:lnTo>
                  <a:lnTo>
                    <a:pt x="514" y="733"/>
                  </a:lnTo>
                  <a:lnTo>
                    <a:pt x="496" y="711"/>
                  </a:lnTo>
                  <a:lnTo>
                    <a:pt x="481" y="686"/>
                  </a:lnTo>
                  <a:lnTo>
                    <a:pt x="472" y="657"/>
                  </a:lnTo>
                  <a:lnTo>
                    <a:pt x="470" y="627"/>
                  </a:lnTo>
                  <a:lnTo>
                    <a:pt x="470" y="298"/>
                  </a:lnTo>
                  <a:lnTo>
                    <a:pt x="473" y="253"/>
                  </a:lnTo>
                  <a:lnTo>
                    <a:pt x="482" y="211"/>
                  </a:lnTo>
                  <a:lnTo>
                    <a:pt x="498" y="172"/>
                  </a:lnTo>
                  <a:lnTo>
                    <a:pt x="518" y="135"/>
                  </a:lnTo>
                  <a:lnTo>
                    <a:pt x="543" y="102"/>
                  </a:lnTo>
                  <a:lnTo>
                    <a:pt x="572" y="73"/>
                  </a:lnTo>
                  <a:lnTo>
                    <a:pt x="605" y="48"/>
                  </a:lnTo>
                  <a:lnTo>
                    <a:pt x="642" y="28"/>
                  </a:lnTo>
                  <a:lnTo>
                    <a:pt x="681" y="12"/>
                  </a:lnTo>
                  <a:lnTo>
                    <a:pt x="723" y="3"/>
                  </a:lnTo>
                  <a:lnTo>
                    <a:pt x="76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</p:grp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SpPr txBox="1"/>
          <p:nvPr>
            <p:custDataLst>
              <p:tags r:id="rId1"/>
            </p:custDataLst>
          </p:nvPr>
        </p:nvSpPr>
        <p:spPr>
          <a:xfrm>
            <a:off x="3824605" y="1777365"/>
            <a:ext cx="6821170" cy="46164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/>
              <a:t>小练习：</a:t>
            </a:r>
            <a:r>
              <a:rPr lang="zh-CN" altLang="en-US" sz="3200" dirty="0" smtClean="0">
                <a:sym typeface="+mn-ea"/>
              </a:rPr>
              <a:t>寻找相似样本</a:t>
            </a:r>
            <a:endParaRPr lang="zh-CN" altLang="en-US" sz="3200" dirty="0"/>
          </a:p>
        </p:txBody>
      </p: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/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/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/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/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/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/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/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/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/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/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/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/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/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/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/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/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/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/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/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/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/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/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/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/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/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/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/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/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/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/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/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/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/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/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/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/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/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/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/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/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/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/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/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/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/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/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/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/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/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/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/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/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/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/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/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/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/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/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/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/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/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/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/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/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16280" y="3216910"/>
            <a:ext cx="10600690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>
              <a:lnSpc>
                <a:spcPct val="120000"/>
              </a:lnSpc>
            </a:pPr>
            <a:r>
              <a:rPr lang="zh-CN" altLang="en-US" kern="600" spc="16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如果需要通过模型识别微信支付交易是否</a:t>
            </a:r>
            <a:r>
              <a:rPr lang="zh-CN" altLang="en-US" b="1" kern="600" spc="160" dirty="0" smtClean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被骗</a:t>
            </a:r>
            <a:r>
              <a:rPr lang="zh-CN" altLang="en-US" kern="600" spc="16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，如何通过寻找相似样本，扩大被骗样本量？</a:t>
            </a:r>
            <a:endParaRPr lang="zh-CN" altLang="en-US" kern="600" spc="16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四：觅迹同源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相似样本寻觅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相似样本训练后的评估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1254760" y="2805430"/>
            <a:ext cx="1504950" cy="862965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endParaRPr lang="zh-CN" altLang="en-US" sz="1800" b="1" dirty="0" smtClean="0"/>
          </a:p>
        </p:txBody>
      </p:sp>
      <p:sp>
        <p:nvSpPr>
          <p:cNvPr id="28" name="文本框 27"/>
          <p:cNvSpPr txBox="1"/>
          <p:nvPr/>
        </p:nvSpPr>
        <p:spPr>
          <a:xfrm>
            <a:off x="3171825" y="1741805"/>
            <a:ext cx="1130935" cy="38481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800" dirty="0" smtClean="0"/>
              <a:t>训练</a:t>
            </a:r>
            <a:endParaRPr lang="zh-CN" altLang="en-US" sz="1800" dirty="0" smtClean="0"/>
          </a:p>
        </p:txBody>
      </p:sp>
      <p:sp>
        <p:nvSpPr>
          <p:cNvPr id="29" name="文本框 28"/>
          <p:cNvSpPr txBox="1"/>
          <p:nvPr/>
        </p:nvSpPr>
        <p:spPr>
          <a:xfrm>
            <a:off x="2197735" y="3589655"/>
            <a:ext cx="2804795" cy="762635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800" dirty="0" smtClean="0"/>
              <a:t>处理</a:t>
            </a:r>
            <a:r>
              <a:rPr lang="zh-CN" altLang="en-US" sz="3600" b="1" dirty="0" smtClean="0">
                <a:solidFill>
                  <a:srgbClr val="F05A23"/>
                </a:solidFill>
              </a:rPr>
              <a:t>后</a:t>
            </a:r>
            <a:r>
              <a:rPr lang="zh-CN" altLang="en-US" sz="1800" dirty="0" smtClean="0"/>
              <a:t>的样本（</a:t>
            </a:r>
            <a:r>
              <a:rPr lang="en-US" altLang="zh-CN" sz="1800" dirty="0" smtClean="0"/>
              <a:t>y</a:t>
            </a:r>
            <a:r>
              <a:rPr lang="zh-CN" altLang="en-US" sz="1800" dirty="0" smtClean="0"/>
              <a:t>变量）</a:t>
            </a:r>
            <a:endParaRPr lang="zh-CN" altLang="en-US" sz="1800" dirty="0" smtClean="0"/>
          </a:p>
        </p:txBody>
      </p:sp>
      <p:sp>
        <p:nvSpPr>
          <p:cNvPr id="30" name="文本框 29"/>
          <p:cNvSpPr txBox="1"/>
          <p:nvPr/>
        </p:nvSpPr>
        <p:spPr>
          <a:xfrm>
            <a:off x="7255510" y="5829300"/>
            <a:ext cx="1130935" cy="5181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800" dirty="0" smtClean="0"/>
              <a:t>评估</a:t>
            </a:r>
            <a:endParaRPr lang="zh-CN" altLang="en-US" sz="1800" dirty="0" smtClean="0"/>
          </a:p>
        </p:txBody>
      </p:sp>
      <p:sp>
        <p:nvSpPr>
          <p:cNvPr id="31" name="文本框 30"/>
          <p:cNvSpPr txBox="1"/>
          <p:nvPr/>
        </p:nvSpPr>
        <p:spPr>
          <a:xfrm>
            <a:off x="6416040" y="3589655"/>
            <a:ext cx="2981325" cy="76327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800" dirty="0" smtClean="0"/>
              <a:t>处理</a:t>
            </a:r>
            <a:r>
              <a:rPr lang="zh-CN" altLang="en-US" sz="3600" b="1" dirty="0" smtClean="0">
                <a:solidFill>
                  <a:srgbClr val="F05A23"/>
                </a:solidFill>
              </a:rPr>
              <a:t>前</a:t>
            </a:r>
            <a:r>
              <a:rPr lang="zh-CN" altLang="en-US" sz="1800" dirty="0" smtClean="0"/>
              <a:t>的样本（</a:t>
            </a:r>
            <a:r>
              <a:rPr lang="en-US" altLang="zh-CN" sz="1800" dirty="0" smtClean="0"/>
              <a:t>y</a:t>
            </a:r>
            <a:r>
              <a:rPr lang="zh-CN" altLang="en-US" sz="1800" dirty="0" smtClean="0"/>
              <a:t>变量）</a:t>
            </a:r>
            <a:endParaRPr lang="zh-CN" altLang="en-US" sz="1800" dirty="0" smtClean="0"/>
          </a:p>
        </p:txBody>
      </p:sp>
      <p:grpSp>
        <p:nvGrpSpPr>
          <p:cNvPr id="36" name="组合 35"/>
          <p:cNvGrpSpPr/>
          <p:nvPr/>
        </p:nvGrpSpPr>
        <p:grpSpPr>
          <a:xfrm>
            <a:off x="1450975" y="2244725"/>
            <a:ext cx="8808085" cy="3583940"/>
            <a:chOff x="2255" y="2984"/>
            <a:chExt cx="13871" cy="5644"/>
          </a:xfrm>
        </p:grpSpPr>
        <p:cxnSp>
          <p:nvCxnSpPr>
            <p:cNvPr id="33" name="直接连接符 32"/>
            <p:cNvCxnSpPr/>
            <p:nvPr/>
          </p:nvCxnSpPr>
          <p:spPr>
            <a:xfrm flipH="1">
              <a:off x="7356" y="3014"/>
              <a:ext cx="3578" cy="5615"/>
            </a:xfrm>
            <a:prstGeom prst="line">
              <a:avLst/>
            </a:prstGeom>
            <a:ln w="762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33"/>
            <p:cNvCxnSpPr/>
            <p:nvPr/>
          </p:nvCxnSpPr>
          <p:spPr>
            <a:xfrm>
              <a:off x="7426" y="8599"/>
              <a:ext cx="8700" cy="0"/>
            </a:xfrm>
            <a:prstGeom prst="line">
              <a:avLst/>
            </a:prstGeom>
            <a:ln w="762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/>
          </p:nvCxnSpPr>
          <p:spPr>
            <a:xfrm>
              <a:off x="2255" y="2984"/>
              <a:ext cx="8700" cy="0"/>
            </a:xfrm>
            <a:prstGeom prst="line">
              <a:avLst/>
            </a:prstGeom>
            <a:ln w="762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四：觅迹同源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相似样本寻觅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案例：监管投诉通报件预测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1077248" y="1489768"/>
            <a:ext cx="5087620" cy="3860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sz="1400" smtClean="0"/>
              <a:t>寻找监管通报件相似样本：全量投诉（公司内投诉</a:t>
            </a:r>
            <a:r>
              <a:rPr lang="en-US" altLang="zh-CN" sz="1400" smtClean="0"/>
              <a:t>+</a:t>
            </a:r>
            <a:r>
              <a:rPr lang="zh-CN" altLang="en-US" sz="1400" smtClean="0"/>
              <a:t>监管投诉</a:t>
            </a:r>
            <a:r>
              <a:rPr lang="zh-CN" sz="1400" smtClean="0"/>
              <a:t>）</a:t>
            </a:r>
            <a:endParaRPr lang="zh-CN" sz="1400" smtClean="0"/>
          </a:p>
        </p:txBody>
      </p:sp>
      <p:sp>
        <p:nvSpPr>
          <p:cNvPr id="6" name="矩形 5"/>
          <p:cNvSpPr/>
          <p:nvPr/>
        </p:nvSpPr>
        <p:spPr>
          <a:xfrm>
            <a:off x="4848225" y="4229215"/>
            <a:ext cx="325755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6522720" y="2609215"/>
            <a:ext cx="324000" cy="2160000"/>
          </a:xfrm>
          <a:prstGeom prst="rect">
            <a:avLst/>
          </a:prstGeom>
          <a:solidFill>
            <a:srgbClr val="F05A23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4575175" y="3809365"/>
            <a:ext cx="81470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0.016%</a:t>
            </a:r>
            <a:endParaRPr lang="en-US" alt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276975" y="2199640"/>
            <a:ext cx="81470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0.064%</a:t>
            </a:r>
            <a:endParaRPr lang="en-US" alt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15" name="直接连接符 14"/>
          <p:cNvCxnSpPr/>
          <p:nvPr/>
        </p:nvCxnSpPr>
        <p:spPr>
          <a:xfrm>
            <a:off x="4192270" y="4770755"/>
            <a:ext cx="335724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箭头连接符 15"/>
          <p:cNvCxnSpPr/>
          <p:nvPr/>
        </p:nvCxnSpPr>
        <p:spPr>
          <a:xfrm flipV="1">
            <a:off x="5112385" y="2642235"/>
            <a:ext cx="1219835" cy="101600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/>
          <p:cNvSpPr txBox="1"/>
          <p:nvPr/>
        </p:nvSpPr>
        <p:spPr>
          <a:xfrm>
            <a:off x="4926965" y="2816225"/>
            <a:ext cx="967740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提升</a:t>
            </a:r>
            <a:r>
              <a:rPr lang="en-US" altLang="zh-CN" sz="1400" b="1" dirty="0" smtClean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4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倍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3983990" y="4921885"/>
            <a:ext cx="191071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监管通报件投诉率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6123305" y="4940935"/>
            <a:ext cx="1604010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全量投诉率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四：觅迹同源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相似样本寻觅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dirty="0" smtClean="0"/>
              <a:t>案例：监管投诉通报件预测</a:t>
            </a:r>
            <a:endParaRPr lang="zh-CN" altLang="en-US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1143923" y="1489768"/>
            <a:ext cx="1960880" cy="3860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sz="1400" smtClean="0"/>
              <a:t>通过全量投诉训练模型</a:t>
            </a:r>
            <a:endParaRPr lang="zh-CN" sz="1400" smtClean="0"/>
          </a:p>
        </p:txBody>
      </p:sp>
      <p:graphicFrame>
        <p:nvGraphicFramePr>
          <p:cNvPr id="9" name="表格 8"/>
          <p:cNvGraphicFramePr/>
          <p:nvPr/>
        </p:nvGraphicFramePr>
        <p:xfrm>
          <a:off x="1283018" y="2256790"/>
          <a:ext cx="4257675" cy="44475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5800"/>
                <a:gridCol w="828675"/>
                <a:gridCol w="685800"/>
                <a:gridCol w="685800"/>
                <a:gridCol w="685800"/>
                <a:gridCol w="685800"/>
              </a:tblGrid>
              <a:tr h="177800">
                <a:tc gridSpan="6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  <a:cs typeface="华文楷体" panose="02010600040101010101" pitchFamily="2" charset="-122"/>
                        </a:rPr>
                        <a:t>20230101_全量投诉效果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  <a:cs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  <a:tr h="1803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分位点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客户数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直达监管数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直达监管率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覆盖率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提升度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,54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3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.59%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.9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9.63 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9,08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1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.21%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5.3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6.72 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3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8,63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0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4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7.7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8.9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4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8,17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7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0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9.4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8.5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7,72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4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7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1.1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2.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6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7,26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5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2.5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7.5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7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6,80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4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4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3.6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3.7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8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6,35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3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4.9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1.1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9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5,89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02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2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5.7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8.5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5,44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05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1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6.4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6.4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43,16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22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8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0.7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0.4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90,88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35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7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3.9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6.9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77,1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83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3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6.0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.2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54,04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,33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2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8.3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.8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908,57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,85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1.3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.5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,863,2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21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0.5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6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817,65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52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8.2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2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,772,07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74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8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3.6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8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726,48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88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7.3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6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,680,89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95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.0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4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,635,3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98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.6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2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,589,71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99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.8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1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,544,13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99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0.0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" name="表格 10"/>
          <p:cNvGraphicFramePr/>
          <p:nvPr/>
        </p:nvGraphicFramePr>
        <p:xfrm>
          <a:off x="6490653" y="2256790"/>
          <a:ext cx="4257675" cy="444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5800"/>
                <a:gridCol w="828675"/>
                <a:gridCol w="685800"/>
                <a:gridCol w="685800"/>
                <a:gridCol w="685800"/>
                <a:gridCol w="685800"/>
              </a:tblGrid>
              <a:tr h="177800">
                <a:tc gridSpan="6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  <a:cs typeface="华文楷体" panose="02010600040101010101" pitchFamily="2" charset="-122"/>
                        </a:rPr>
                        <a:t>20221001_全量投诉效果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  <a:cs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分位点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客户数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直达监管数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直达监管率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覆盖率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提升度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,38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3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.53%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1.8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18.22 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6,77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4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.05%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5.8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9.31 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3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5,16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7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.8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8.1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0.5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4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3,55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07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.2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0.18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0.4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1,94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17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8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2.0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3.9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6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0,32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25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4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3.4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9.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7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8,71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30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2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4.4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4.9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8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7,10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37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0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5.7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2.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9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5,49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42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8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6.6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9.6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3,87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48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7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7.8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7.8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25,81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72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3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2.3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1.5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67,75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93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1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6.1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8.0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19,39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,57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6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8.2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.6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38,78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17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38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9.3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.9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677,58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86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2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2.3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.6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,516,36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,32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0.9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7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355,0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,70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8.0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,193,94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00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3.6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8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032,7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20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7.3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6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871,51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28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8.9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4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,710,3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31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8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.48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2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,549,01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33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.7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1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,387,8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34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0.0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</a:tbl>
          </a:graphicData>
        </a:graphic>
      </p:graphicFrame>
      <p:sp>
        <p:nvSpPr>
          <p:cNvPr id="12" name="文本框 11"/>
          <p:cNvSpPr txBox="1"/>
          <p:nvPr/>
        </p:nvSpPr>
        <p:spPr>
          <a:xfrm>
            <a:off x="2889538" y="1865688"/>
            <a:ext cx="1075055" cy="3860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sz="1400" b="1" smtClean="0"/>
              <a:t>训练集效果</a:t>
            </a:r>
            <a:endParaRPr lang="en-US" altLang="zh-CN" sz="1400" b="1" smtClean="0"/>
          </a:p>
        </p:txBody>
      </p:sp>
      <p:sp>
        <p:nvSpPr>
          <p:cNvPr id="14" name="文本框 13"/>
          <p:cNvSpPr txBox="1"/>
          <p:nvPr/>
        </p:nvSpPr>
        <p:spPr>
          <a:xfrm>
            <a:off x="8084473" y="1876483"/>
            <a:ext cx="1075055" cy="3860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sz="1400" b="1" smtClean="0"/>
              <a:t>验证集效果</a:t>
            </a:r>
            <a:endParaRPr lang="en-US" altLang="zh-CN" sz="1400" b="1" smtClean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四：觅迹同源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相似样本寻觅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案例：监管投诉通报件预测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1096298" y="1489768"/>
            <a:ext cx="6778625" cy="3860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altLang="en-US" sz="1400" smtClean="0"/>
              <a:t>还原</a:t>
            </a:r>
            <a:r>
              <a:rPr lang="zh-CN" altLang="en-US" sz="1400" b="1" smtClean="0">
                <a:solidFill>
                  <a:srgbClr val="F05A23"/>
                </a:solidFill>
              </a:rPr>
              <a:t>监管通报件</a:t>
            </a:r>
            <a:r>
              <a:rPr lang="zh-CN" altLang="en-US" sz="1400" smtClean="0"/>
              <a:t>效果，模型前</a:t>
            </a:r>
            <a:r>
              <a:rPr lang="en-US" altLang="zh-CN" sz="1400" smtClean="0"/>
              <a:t>0.1%</a:t>
            </a:r>
            <a:r>
              <a:rPr lang="zh-CN" altLang="en-US" sz="1400" smtClean="0"/>
              <a:t>精确率由</a:t>
            </a:r>
            <a:r>
              <a:rPr lang="en-US" altLang="zh-CN" sz="1400" smtClean="0"/>
              <a:t>1.288%</a:t>
            </a:r>
            <a:r>
              <a:rPr lang="zh-CN" altLang="en-US" sz="1400" smtClean="0"/>
              <a:t>提升到</a:t>
            </a:r>
            <a:r>
              <a:rPr lang="en-US" altLang="zh-CN" sz="1400" smtClean="0"/>
              <a:t>1.598%</a:t>
            </a:r>
            <a:r>
              <a:rPr lang="zh-CN" altLang="en-US" sz="1400" smtClean="0"/>
              <a:t>，提升幅度达</a:t>
            </a:r>
            <a:r>
              <a:rPr lang="en-US" altLang="zh-CN" sz="1400" b="1" smtClean="0">
                <a:solidFill>
                  <a:srgbClr val="F05A23"/>
                </a:solidFill>
              </a:rPr>
              <a:t>24</a:t>
            </a:r>
            <a:r>
              <a:rPr lang="en-US" altLang="zh-CN" sz="1400" smtClean="0"/>
              <a:t>%</a:t>
            </a:r>
            <a:endParaRPr lang="en-US" altLang="zh-CN" sz="1400" smtClean="0"/>
          </a:p>
        </p:txBody>
      </p:sp>
      <p:graphicFrame>
        <p:nvGraphicFramePr>
          <p:cNvPr id="8" name="表格 7"/>
          <p:cNvGraphicFramePr>
            <a:graphicFrameLocks noGrp="1"/>
          </p:cNvGraphicFramePr>
          <p:nvPr/>
        </p:nvGraphicFramePr>
        <p:xfrm>
          <a:off x="1143429" y="2282476"/>
          <a:ext cx="4493895" cy="43511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8958"/>
                <a:gridCol w="749300"/>
                <a:gridCol w="748616"/>
                <a:gridCol w="748958"/>
                <a:gridCol w="748958"/>
                <a:gridCol w="748958"/>
              </a:tblGrid>
              <a:tr h="174054">
                <a:tc gridSpan="6"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221001_30</a:t>
                      </a:r>
                      <a:r>
                        <a:rPr lang="zh-CN" altLang="en-US" sz="800" u="none" strike="noStrike">
                          <a:effectLst/>
                        </a:rPr>
                        <a:t>天直达投诉效果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分位点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客户数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直达监管数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直达监管率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覆盖率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提升度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rgbClr val="FF6600"/>
                    </a:solidFill>
                  </a:tcPr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,38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3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1.598%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.7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97.24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3990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,77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91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1.139%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3.8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69.30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,16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2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90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.5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5.1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3,552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76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8.6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6.6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1,94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7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66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.1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0.3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6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0,32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95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8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1.41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5.6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8,71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1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4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3.0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2.86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3990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7,103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3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0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4.4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0.5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3990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5,491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5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6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.4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8.2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3,87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71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4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6.9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6.9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25,81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3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4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1.6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1.0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7,75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9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29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6.0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8.0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19,392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6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159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8.4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.7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38,78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1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9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9.4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.9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677,58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9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59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2.3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.6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,516,36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111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4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0.6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.6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,355,02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19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3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6.8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.1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,193,94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265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3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1.8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8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,032,72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1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5.6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5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,871,51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5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7.9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4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,710,3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6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9.2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2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,549,01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7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1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9.71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1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,387,82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7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1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0.0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</a:tbl>
          </a:graphicData>
        </a:graphic>
      </p:graphicFrame>
      <p:graphicFrame>
        <p:nvGraphicFramePr>
          <p:cNvPr id="10" name="表格 9"/>
          <p:cNvGraphicFramePr>
            <a:graphicFrameLocks noGrp="1"/>
          </p:cNvGraphicFramePr>
          <p:nvPr/>
        </p:nvGraphicFramePr>
        <p:xfrm>
          <a:off x="6491284" y="2280046"/>
          <a:ext cx="4493748" cy="43513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8958"/>
                <a:gridCol w="748958"/>
                <a:gridCol w="748958"/>
                <a:gridCol w="748958"/>
                <a:gridCol w="748958"/>
                <a:gridCol w="748958"/>
              </a:tblGrid>
              <a:tr h="174054">
                <a:tc gridSpan="6"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221001_30</a:t>
                      </a:r>
                      <a:r>
                        <a:rPr lang="zh-CN" altLang="en-US" sz="800" u="none" strike="noStrike">
                          <a:effectLst/>
                        </a:rPr>
                        <a:t>天直达投诉效果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分位点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客户数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直达监管数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直达监管率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覆盖率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提升度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rgbClr val="FF6600"/>
                    </a:solidFill>
                  </a:tcPr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,38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1.288%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.8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78.37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,77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5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0.942%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1.4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57.33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,16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8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74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3.5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5.2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3,552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1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62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5.2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8.1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1,94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2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4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.6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3.2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6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0,32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9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8.1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0.2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8,71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6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5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9.3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7.6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7,103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85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2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.6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.8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5,491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9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9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1.6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4.0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3,87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13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7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2.71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2.7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25,81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8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0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7.8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8.5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7,75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4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26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2.3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.1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19,39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22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14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5.1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.0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38,78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8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9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7.2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.7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677,57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6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5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0.2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.5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,516,36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08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4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9.0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.6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,355,15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17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3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5.5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.1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,193,94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24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3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0.49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8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,032,76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02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4.4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5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,871,51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3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7.0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3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,710,04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6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8.69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2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,535,33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7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1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9.71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1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,387,87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7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1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0.0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</a:tbl>
          </a:graphicData>
        </a:graphic>
      </p:graphicFrame>
      <p:sp>
        <p:nvSpPr>
          <p:cNvPr id="22" name="文本框 21"/>
          <p:cNvSpPr txBox="1"/>
          <p:nvPr/>
        </p:nvSpPr>
        <p:spPr>
          <a:xfrm>
            <a:off x="2989619" y="1928539"/>
            <a:ext cx="723275" cy="35785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altLang="en-US" sz="1400" b="1" smtClean="0"/>
              <a:t>迭代后</a:t>
            </a:r>
            <a:endParaRPr lang="zh-CN" altLang="en-US" sz="1400" b="1" smtClean="0"/>
          </a:p>
        </p:txBody>
      </p:sp>
      <p:sp>
        <p:nvSpPr>
          <p:cNvPr id="23" name="文本框 22"/>
          <p:cNvSpPr txBox="1"/>
          <p:nvPr/>
        </p:nvSpPr>
        <p:spPr>
          <a:xfrm>
            <a:off x="8358053" y="1928539"/>
            <a:ext cx="723275" cy="35785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altLang="en-US" sz="1400" b="1" smtClean="0"/>
              <a:t>迭代前</a:t>
            </a:r>
            <a:endParaRPr lang="zh-CN" altLang="en-US" sz="1400" b="1" smtClean="0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779260" y="1055370"/>
            <a:ext cx="3867150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洞察趋势：了解保险风控格局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3750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  <p:sp>
          <p:nvSpPr>
            <p:cNvPr id="20" name="直角三角形 19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</p:grpSp>
      <p:sp>
        <p:nvSpPr>
          <p:cNvPr id="21" name="等腰三角形 20"/>
          <p:cNvSpPr/>
          <p:nvPr/>
        </p:nvSpPr>
        <p:spPr>
          <a:xfrm rot="10273322">
            <a:off x="2884558" y="793348"/>
            <a:ext cx="1825398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2" name="直角三角形 21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3" name="文本框 6"/>
          <p:cNvSpPr txBox="1"/>
          <p:nvPr/>
        </p:nvSpPr>
        <p:spPr>
          <a:xfrm>
            <a:off x="630723" y="2708304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CONTENT</a:t>
            </a:r>
            <a:endParaRPr kumimoji="0" lang="en-US" altLang="zh-CN" sz="32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kumimoji="0" lang="zh-CN" altLang="en-US" sz="44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5881411" y="105546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1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5881411" y="200987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2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2" name="椭圆 71"/>
          <p:cNvSpPr/>
          <p:nvPr/>
        </p:nvSpPr>
        <p:spPr>
          <a:xfrm>
            <a:off x="5881411" y="2964278"/>
            <a:ext cx="533400" cy="53340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>
                <a:latin typeface="+mj-lt"/>
                <a:ea typeface="Noto Sans S Chinese Regular" panose="020B0500000000000000" pitchFamily="34" charset="-122"/>
                <a:sym typeface="+mn-ea"/>
              </a:rPr>
              <a:t>3</a:t>
            </a:r>
            <a:endParaRPr lang="en-US" altLang="zh-CN" sz="2000" b="1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6779260" y="200596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突破瓶颈：小样本数据挖掘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6779260" y="2956560"/>
            <a:ext cx="3867785" cy="533400"/>
          </a:xfrm>
          <a:prstGeom prst="rect">
            <a:avLst/>
          </a:prstGeom>
          <a:solidFill>
            <a:srgbClr val="FF66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解码行为：破局稀缺</a:t>
            </a: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&amp;</a:t>
            </a: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精选标签</a:t>
            </a:r>
            <a:endParaRPr lang="zh-CN" altLang="en-US" sz="2000" b="1" dirty="0" smtClean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5882046" y="391868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4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79895" y="390715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实测胜算：AB实验测试效果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9" name="椭圆 8"/>
          <p:cNvSpPr/>
          <p:nvPr/>
        </p:nvSpPr>
        <p:spPr>
          <a:xfrm>
            <a:off x="5882046" y="487308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5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79895" y="485775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析风险：构建可解释的模型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盘点标签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寿险场景标签梳理</a:t>
            </a:r>
            <a:endParaRPr lang="en-US" altLang="zh-CN" sz="2800" b="1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424815" y="1057275"/>
            <a:ext cx="7687310" cy="42291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2400" dirty="0" smtClean="0"/>
              <a:t>数据是模型的基石，决定了模型的上限。</a:t>
            </a:r>
            <a:endParaRPr lang="zh-CN" altLang="en-US" sz="2400" dirty="0" smtClean="0"/>
          </a:p>
        </p:txBody>
      </p:sp>
      <p:sp>
        <p:nvSpPr>
          <p:cNvPr id="2" name="矩形: 圆角 15"/>
          <p:cNvSpPr/>
          <p:nvPr/>
        </p:nvSpPr>
        <p:spPr>
          <a:xfrm>
            <a:off x="3284855" y="2344420"/>
            <a:ext cx="1967230" cy="45275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静态信息</a:t>
            </a:r>
            <a:endParaRPr lang="zh-CN" altLang="en-US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227955" y="2407920"/>
            <a:ext cx="1918970" cy="312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50000"/>
              </a:lnSpc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20000"/>
              </a:lnSpc>
            </a:pPr>
            <a:r>
              <a:rPr lang="zh-CN" altLang="en-US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姓名、年龄、婚姻状态</a:t>
            </a:r>
            <a:r>
              <a:rPr lang="en-US" altLang="zh-CN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...</a:t>
            </a:r>
            <a:endParaRPr lang="en-US" altLang="zh-CN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9" name="矩形: 圆角 15"/>
          <p:cNvSpPr/>
          <p:nvPr/>
        </p:nvSpPr>
        <p:spPr>
          <a:xfrm>
            <a:off x="7617460" y="2334895"/>
            <a:ext cx="1967230" cy="452755"/>
          </a:xfrm>
          <a:prstGeom prst="roundRect">
            <a:avLst>
              <a:gd name="adj" fmla="val 50000"/>
            </a:avLst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行为信息</a:t>
            </a:r>
            <a:endParaRPr lang="zh-CN" altLang="en-US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9560560" y="2398395"/>
            <a:ext cx="1918970" cy="312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50000"/>
              </a:lnSpc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20000"/>
              </a:lnSpc>
            </a:pPr>
            <a:r>
              <a:rPr lang="zh-CN" altLang="en-US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姓名、年龄、婚姻状态</a:t>
            </a:r>
            <a:r>
              <a:rPr lang="en-US" altLang="zh-CN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...</a:t>
            </a:r>
            <a:endParaRPr lang="en-US" altLang="zh-CN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948055" y="3130550"/>
            <a:ext cx="2165985" cy="56578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285750" indent="-179705">
              <a:buFont typeface="Arial" panose="020B0604020202020204" pitchFamily="34" charset="0"/>
              <a:buChar char="•"/>
            </a:pPr>
            <a:r>
              <a:rPr lang="zh-CN" altLang="en-US" sz="1700" dirty="0" smtClean="0"/>
              <a:t>一般业务场景（如互联网）</a:t>
            </a:r>
            <a:endParaRPr lang="zh-CN" altLang="en-US" sz="1700" dirty="0" smtClean="0"/>
          </a:p>
        </p:txBody>
      </p:sp>
      <p:sp>
        <p:nvSpPr>
          <p:cNvPr id="12" name="文本框 11"/>
          <p:cNvSpPr txBox="1"/>
          <p:nvPr/>
        </p:nvSpPr>
        <p:spPr>
          <a:xfrm>
            <a:off x="948055" y="4185920"/>
            <a:ext cx="1504950" cy="3448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285750" indent="-179705">
              <a:buFont typeface="Arial" panose="020B0604020202020204" pitchFamily="34" charset="0"/>
              <a:buChar char="•"/>
            </a:pPr>
            <a:r>
              <a:rPr lang="zh-CN" altLang="en-US" dirty="0" smtClean="0"/>
              <a:t>寿险场景</a:t>
            </a:r>
            <a:endParaRPr lang="zh-CN" altLang="en-US" dirty="0" smtClean="0"/>
          </a:p>
        </p:txBody>
      </p:sp>
      <p:cxnSp>
        <p:nvCxnSpPr>
          <p:cNvPr id="13" name="直接连接符 12"/>
          <p:cNvCxnSpPr/>
          <p:nvPr/>
        </p:nvCxnSpPr>
        <p:spPr>
          <a:xfrm>
            <a:off x="3392170" y="3810635"/>
            <a:ext cx="7859395" cy="0"/>
          </a:xfrm>
          <a:prstGeom prst="line">
            <a:avLst/>
          </a:prstGeom>
          <a:ln w="38100">
            <a:solidFill>
              <a:srgbClr val="FFEB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7226300" y="3253105"/>
            <a:ext cx="0" cy="1225550"/>
          </a:xfrm>
          <a:prstGeom prst="line">
            <a:avLst/>
          </a:prstGeom>
          <a:ln w="38100">
            <a:solidFill>
              <a:srgbClr val="FFEB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14"/>
          <p:cNvSpPr txBox="1"/>
          <p:nvPr/>
        </p:nvSpPr>
        <p:spPr>
          <a:xfrm>
            <a:off x="4417695" y="4185920"/>
            <a:ext cx="1504950" cy="3448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700" dirty="0" smtClean="0"/>
              <a:t>丰富</a:t>
            </a:r>
            <a:endParaRPr lang="zh-CN" altLang="en-US" sz="1700" dirty="0" smtClean="0"/>
          </a:p>
        </p:txBody>
      </p:sp>
      <p:sp>
        <p:nvSpPr>
          <p:cNvPr id="19" name="文本框 18"/>
          <p:cNvSpPr txBox="1"/>
          <p:nvPr/>
        </p:nvSpPr>
        <p:spPr>
          <a:xfrm>
            <a:off x="8376920" y="4185920"/>
            <a:ext cx="1504950" cy="3448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700" dirty="0" smtClean="0"/>
              <a:t>稀疏</a:t>
            </a:r>
            <a:endParaRPr lang="zh-CN" altLang="en-US" sz="1700" dirty="0" smtClean="0"/>
          </a:p>
        </p:txBody>
      </p:sp>
      <p:sp>
        <p:nvSpPr>
          <p:cNvPr id="6" name="文本框 5"/>
          <p:cNvSpPr txBox="1"/>
          <p:nvPr/>
        </p:nvSpPr>
        <p:spPr>
          <a:xfrm>
            <a:off x="8346440" y="3192145"/>
            <a:ext cx="1504950" cy="3448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700" dirty="0" smtClean="0"/>
              <a:t>丰富</a:t>
            </a:r>
            <a:endParaRPr lang="zh-CN" altLang="en-US" sz="1700" dirty="0" smtClean="0"/>
          </a:p>
        </p:txBody>
      </p:sp>
      <p:sp>
        <p:nvSpPr>
          <p:cNvPr id="8" name="文本框 7"/>
          <p:cNvSpPr txBox="1"/>
          <p:nvPr/>
        </p:nvSpPr>
        <p:spPr>
          <a:xfrm>
            <a:off x="4417695" y="3253740"/>
            <a:ext cx="1504950" cy="3448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700" dirty="0" smtClean="0"/>
              <a:t>相对较稀疏</a:t>
            </a:r>
            <a:endParaRPr lang="zh-CN" altLang="en-US" sz="1700" dirty="0" smtClean="0"/>
          </a:p>
        </p:txBody>
      </p:sp>
      <p:sp>
        <p:nvSpPr>
          <p:cNvPr id="17" name="文本框 16"/>
          <p:cNvSpPr txBox="1"/>
          <p:nvPr/>
        </p:nvSpPr>
        <p:spPr>
          <a:xfrm>
            <a:off x="975995" y="492125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寿险标签少的原因</a:t>
            </a:r>
            <a:endParaRPr lang="en-US" altLang="zh-CN" sz="1800" dirty="0" smtClean="0"/>
          </a:p>
        </p:txBody>
      </p:sp>
      <p:grpSp>
        <p:nvGrpSpPr>
          <p:cNvPr id="18" name="组合 17"/>
          <p:cNvGrpSpPr/>
          <p:nvPr/>
        </p:nvGrpSpPr>
        <p:grpSpPr>
          <a:xfrm>
            <a:off x="487680" y="485775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0" name="文本框 19"/>
          <p:cNvSpPr txBox="1"/>
          <p:nvPr/>
        </p:nvSpPr>
        <p:spPr>
          <a:xfrm>
            <a:off x="2548890" y="5614035"/>
            <a:ext cx="2703195" cy="4025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 algn="r">
              <a:buFont typeface="Arial" panose="020B0604020202020204" pitchFamily="34" charset="0"/>
              <a:buNone/>
            </a:pPr>
            <a:r>
              <a:rPr lang="zh-CN" altLang="en-US" sz="1800" dirty="0" smtClean="0"/>
              <a:t>保险多为线下行为</a:t>
            </a:r>
            <a:endParaRPr lang="zh-CN" altLang="en-US" sz="1800" dirty="0" smtClean="0"/>
          </a:p>
        </p:txBody>
      </p:sp>
      <p:sp>
        <p:nvSpPr>
          <p:cNvPr id="21" name="文本框 20"/>
          <p:cNvSpPr txBox="1"/>
          <p:nvPr/>
        </p:nvSpPr>
        <p:spPr>
          <a:xfrm>
            <a:off x="6468745" y="6036310"/>
            <a:ext cx="2703195" cy="4025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800" dirty="0" smtClean="0"/>
              <a:t>客户行为低频</a:t>
            </a:r>
            <a:endParaRPr lang="zh-CN" altLang="en-US" sz="1800" dirty="0" smtClean="0"/>
          </a:p>
        </p:txBody>
      </p:sp>
      <p:cxnSp>
        <p:nvCxnSpPr>
          <p:cNvPr id="22" name="直接连接符 21"/>
          <p:cNvCxnSpPr/>
          <p:nvPr/>
        </p:nvCxnSpPr>
        <p:spPr>
          <a:xfrm>
            <a:off x="5873750" y="5470525"/>
            <a:ext cx="0" cy="1111885"/>
          </a:xfrm>
          <a:prstGeom prst="line">
            <a:avLst/>
          </a:prstGeom>
          <a:ln w="130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>
            <a:off x="5563235" y="5815330"/>
            <a:ext cx="23939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>
            <a:off x="5927725" y="6237605"/>
            <a:ext cx="23939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椭圆 24"/>
          <p:cNvSpPr/>
          <p:nvPr/>
        </p:nvSpPr>
        <p:spPr>
          <a:xfrm>
            <a:off x="5274945" y="5671185"/>
            <a:ext cx="287655" cy="28765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ctr" anchorCtr="0" compatLnSpc="1"/>
          <a:p>
            <a:pPr algn="ctr"/>
            <a:r>
              <a:rPr lang="en-US" altLang="zh-CN"/>
              <a:t>1</a:t>
            </a:r>
            <a:endParaRPr lang="en-US" altLang="zh-CN"/>
          </a:p>
        </p:txBody>
      </p:sp>
      <p:sp>
        <p:nvSpPr>
          <p:cNvPr id="26" name="椭圆 25"/>
          <p:cNvSpPr/>
          <p:nvPr/>
        </p:nvSpPr>
        <p:spPr>
          <a:xfrm>
            <a:off x="6184900" y="6093460"/>
            <a:ext cx="287655" cy="28765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ctr" anchorCtr="0" compatLnSpc="1"/>
          <a:p>
            <a:pPr algn="ctr"/>
            <a:r>
              <a:rPr lang="en-US" altLang="zh-CN"/>
              <a:t>2</a:t>
            </a:r>
            <a:endParaRPr lang="en-US" altLang="zh-CN"/>
          </a:p>
        </p:txBody>
      </p:sp>
      <p:sp>
        <p:nvSpPr>
          <p:cNvPr id="27" name="文本框 26"/>
          <p:cNvSpPr txBox="1"/>
          <p:nvPr/>
        </p:nvSpPr>
        <p:spPr>
          <a:xfrm>
            <a:off x="948055" y="192722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标签对比</a:t>
            </a:r>
            <a:endParaRPr lang="en-US" altLang="zh-CN" sz="1800" dirty="0" smtClean="0"/>
          </a:p>
        </p:txBody>
      </p:sp>
      <p:grpSp>
        <p:nvGrpSpPr>
          <p:cNvPr id="28" name="组合 27"/>
          <p:cNvGrpSpPr/>
          <p:nvPr/>
        </p:nvGrpSpPr>
        <p:grpSpPr>
          <a:xfrm>
            <a:off x="459740" y="1863725"/>
            <a:ext cx="389255" cy="427990"/>
            <a:chOff x="450391" y="1977754"/>
            <a:chExt cx="465233" cy="511985"/>
          </a:xfrm>
        </p:grpSpPr>
        <p:sp>
          <p:nvSpPr>
            <p:cNvPr id="29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0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1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2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3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4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5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6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破局稀缺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dirty="0" smtClean="0">
                <a:sym typeface="+mn-ea"/>
              </a:rPr>
              <a:t>解决标签少的两个思路</a:t>
            </a:r>
            <a:endParaRPr lang="en-US" altLang="zh-CN" sz="2800" b="1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grpSp>
        <p:nvGrpSpPr>
          <p:cNvPr id="90" name="组合 89"/>
          <p:cNvGrpSpPr/>
          <p:nvPr/>
        </p:nvGrpSpPr>
        <p:grpSpPr>
          <a:xfrm rot="0">
            <a:off x="610870" y="2038350"/>
            <a:ext cx="10935970" cy="3369310"/>
            <a:chOff x="611025" y="2457450"/>
            <a:chExt cx="10935851" cy="3369366"/>
          </a:xfrm>
        </p:grpSpPr>
        <p:grpSp>
          <p:nvGrpSpPr>
            <p:cNvPr id="6" name="组合 5"/>
            <p:cNvGrpSpPr/>
            <p:nvPr/>
          </p:nvGrpSpPr>
          <p:grpSpPr>
            <a:xfrm>
              <a:off x="3996531" y="2457450"/>
              <a:ext cx="4198938" cy="3346450"/>
              <a:chOff x="3735388" y="1597026"/>
              <a:chExt cx="4198938" cy="3346450"/>
            </a:xfrm>
          </p:grpSpPr>
          <p:sp>
            <p:nvSpPr>
              <p:cNvPr id="21" name="椭圆 20"/>
              <p:cNvSpPr/>
              <p:nvPr/>
            </p:nvSpPr>
            <p:spPr bwMode="auto">
              <a:xfrm>
                <a:off x="4495800" y="2133601"/>
                <a:ext cx="2749550" cy="2751138"/>
              </a:xfrm>
              <a:prstGeom prst="ellipse">
                <a:avLst/>
              </a:prstGeom>
              <a:solidFill>
                <a:schemeClr val="tx2">
                  <a:alpha val="2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2" name="椭圆 21"/>
              <p:cNvSpPr/>
              <p:nvPr/>
            </p:nvSpPr>
            <p:spPr bwMode="auto">
              <a:xfrm>
                <a:off x="4768850" y="2406651"/>
                <a:ext cx="2203450" cy="220503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3" name="椭圆 22"/>
              <p:cNvSpPr/>
              <p:nvPr/>
            </p:nvSpPr>
            <p:spPr bwMode="auto">
              <a:xfrm>
                <a:off x="5010150" y="2647951"/>
                <a:ext cx="1720850" cy="1722438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4" name="椭圆 23"/>
              <p:cNvSpPr/>
              <p:nvPr/>
            </p:nvSpPr>
            <p:spPr bwMode="auto">
              <a:xfrm>
                <a:off x="5305425" y="2943226"/>
                <a:ext cx="1125538" cy="11271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5" name="椭圆 24"/>
              <p:cNvSpPr/>
              <p:nvPr/>
            </p:nvSpPr>
            <p:spPr bwMode="auto">
              <a:xfrm>
                <a:off x="5626100" y="3265488"/>
                <a:ext cx="487363" cy="48736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6" name="任意多边形: 形状 25"/>
              <p:cNvSpPr/>
              <p:nvPr/>
            </p:nvSpPr>
            <p:spPr bwMode="auto">
              <a:xfrm>
                <a:off x="7137400" y="1789113"/>
                <a:ext cx="460375" cy="381000"/>
              </a:xfrm>
              <a:custGeom>
                <a:avLst/>
                <a:gdLst>
                  <a:gd name="T0" fmla="*/ 0 w 103"/>
                  <a:gd name="T1" fmla="*/ 74 h 85"/>
                  <a:gd name="T2" fmla="*/ 57 w 103"/>
                  <a:gd name="T3" fmla="*/ 58 h 85"/>
                  <a:gd name="T4" fmla="*/ 103 w 103"/>
                  <a:gd name="T5" fmla="*/ 8 h 85"/>
                  <a:gd name="T6" fmla="*/ 67 w 103"/>
                  <a:gd name="T7" fmla="*/ 0 h 85"/>
                  <a:gd name="T8" fmla="*/ 0 w 103"/>
                  <a:gd name="T9" fmla="*/ 7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" h="85">
                    <a:moveTo>
                      <a:pt x="0" y="74"/>
                    </a:moveTo>
                    <a:cubicBezTo>
                      <a:pt x="0" y="74"/>
                      <a:pt x="31" y="85"/>
                      <a:pt x="57" y="58"/>
                    </a:cubicBezTo>
                    <a:cubicBezTo>
                      <a:pt x="83" y="31"/>
                      <a:pt x="103" y="8"/>
                      <a:pt x="103" y="8"/>
                    </a:cubicBezTo>
                    <a:cubicBezTo>
                      <a:pt x="67" y="0"/>
                      <a:pt x="67" y="0"/>
                      <a:pt x="67" y="0"/>
                    </a:cubicBezTo>
                    <a:lnTo>
                      <a:pt x="0" y="7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7" name="任意多边形: 形状 26"/>
              <p:cNvSpPr/>
              <p:nvPr/>
            </p:nvSpPr>
            <p:spPr bwMode="auto">
              <a:xfrm>
                <a:off x="7053263" y="1619251"/>
                <a:ext cx="361950" cy="484188"/>
              </a:xfrm>
              <a:custGeom>
                <a:avLst/>
                <a:gdLst>
                  <a:gd name="T0" fmla="*/ 14 w 81"/>
                  <a:gd name="T1" fmla="*/ 108 h 108"/>
                  <a:gd name="T2" fmla="*/ 25 w 81"/>
                  <a:gd name="T3" fmla="*/ 50 h 108"/>
                  <a:gd name="T4" fmla="*/ 69 w 81"/>
                  <a:gd name="T5" fmla="*/ 0 h 108"/>
                  <a:gd name="T6" fmla="*/ 81 w 81"/>
                  <a:gd name="T7" fmla="*/ 34 h 108"/>
                  <a:gd name="T8" fmla="*/ 14 w 81"/>
                  <a:gd name="T9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108">
                    <a:moveTo>
                      <a:pt x="14" y="108"/>
                    </a:moveTo>
                    <a:cubicBezTo>
                      <a:pt x="14" y="108"/>
                      <a:pt x="0" y="78"/>
                      <a:pt x="25" y="50"/>
                    </a:cubicBezTo>
                    <a:cubicBezTo>
                      <a:pt x="49" y="22"/>
                      <a:pt x="69" y="0"/>
                      <a:pt x="69" y="0"/>
                    </a:cubicBezTo>
                    <a:cubicBezTo>
                      <a:pt x="81" y="34"/>
                      <a:pt x="81" y="34"/>
                      <a:pt x="81" y="34"/>
                    </a:cubicBezTo>
                    <a:lnTo>
                      <a:pt x="14" y="10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8" name="任意多边形: 形状 27"/>
              <p:cNvSpPr/>
              <p:nvPr/>
            </p:nvSpPr>
            <p:spPr bwMode="auto">
              <a:xfrm>
                <a:off x="6203950" y="1771651"/>
                <a:ext cx="1233488" cy="1355725"/>
              </a:xfrm>
              <a:custGeom>
                <a:avLst/>
                <a:gdLst>
                  <a:gd name="T0" fmla="*/ 0 w 777"/>
                  <a:gd name="T1" fmla="*/ 843 h 854"/>
                  <a:gd name="T2" fmla="*/ 11 w 777"/>
                  <a:gd name="T3" fmla="*/ 854 h 854"/>
                  <a:gd name="T4" fmla="*/ 777 w 777"/>
                  <a:gd name="T5" fmla="*/ 11 h 854"/>
                  <a:gd name="T6" fmla="*/ 766 w 777"/>
                  <a:gd name="T7" fmla="*/ 0 h 854"/>
                  <a:gd name="T8" fmla="*/ 0 w 777"/>
                  <a:gd name="T9" fmla="*/ 843 h 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7" h="854">
                    <a:moveTo>
                      <a:pt x="0" y="843"/>
                    </a:moveTo>
                    <a:lnTo>
                      <a:pt x="11" y="854"/>
                    </a:lnTo>
                    <a:lnTo>
                      <a:pt x="777" y="11"/>
                    </a:lnTo>
                    <a:lnTo>
                      <a:pt x="766" y="0"/>
                    </a:lnTo>
                    <a:lnTo>
                      <a:pt x="0" y="84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9" name="任意多边形: 形状 28"/>
              <p:cNvSpPr/>
              <p:nvPr/>
            </p:nvSpPr>
            <p:spPr bwMode="auto">
              <a:xfrm>
                <a:off x="5824538" y="2966349"/>
                <a:ext cx="530226" cy="580818"/>
              </a:xfrm>
              <a:custGeom>
                <a:avLst/>
                <a:gdLst>
                  <a:gd name="T0" fmla="*/ 92 w 93"/>
                  <a:gd name="T1" fmla="*/ 25 h 102"/>
                  <a:gd name="T2" fmla="*/ 65 w 93"/>
                  <a:gd name="T3" fmla="*/ 1 h 102"/>
                  <a:gd name="T4" fmla="*/ 61 w 93"/>
                  <a:gd name="T5" fmla="*/ 1 h 102"/>
                  <a:gd name="T6" fmla="*/ 2 w 93"/>
                  <a:gd name="T7" fmla="*/ 96 h 102"/>
                  <a:gd name="T8" fmla="*/ 6 w 93"/>
                  <a:gd name="T9" fmla="*/ 100 h 102"/>
                  <a:gd name="T10" fmla="*/ 92 w 93"/>
                  <a:gd name="T11" fmla="*/ 30 h 102"/>
                  <a:gd name="T12" fmla="*/ 92 w 93"/>
                  <a:gd name="T13" fmla="*/ 25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3" h="102">
                    <a:moveTo>
                      <a:pt x="92" y="25"/>
                    </a:moveTo>
                    <a:cubicBezTo>
                      <a:pt x="65" y="1"/>
                      <a:pt x="65" y="1"/>
                      <a:pt x="65" y="1"/>
                    </a:cubicBezTo>
                    <a:cubicBezTo>
                      <a:pt x="64" y="0"/>
                      <a:pt x="62" y="0"/>
                      <a:pt x="61" y="1"/>
                    </a:cubicBezTo>
                    <a:cubicBezTo>
                      <a:pt x="2" y="96"/>
                      <a:pt x="2" y="96"/>
                      <a:pt x="2" y="96"/>
                    </a:cubicBezTo>
                    <a:cubicBezTo>
                      <a:pt x="0" y="99"/>
                      <a:pt x="4" y="102"/>
                      <a:pt x="6" y="100"/>
                    </a:cubicBezTo>
                    <a:cubicBezTo>
                      <a:pt x="92" y="30"/>
                      <a:pt x="92" y="30"/>
                      <a:pt x="92" y="30"/>
                    </a:cubicBezTo>
                    <a:cubicBezTo>
                      <a:pt x="93" y="29"/>
                      <a:pt x="93" y="26"/>
                      <a:pt x="92" y="2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0" name="任意多边形: 形状 29"/>
              <p:cNvSpPr/>
              <p:nvPr/>
            </p:nvSpPr>
            <p:spPr bwMode="auto">
              <a:xfrm>
                <a:off x="3870325" y="1958976"/>
                <a:ext cx="674688" cy="676275"/>
              </a:xfrm>
              <a:custGeom>
                <a:avLst/>
                <a:gdLst>
                  <a:gd name="T0" fmla="*/ 2 w 151"/>
                  <a:gd name="T1" fmla="*/ 93 h 151"/>
                  <a:gd name="T2" fmla="*/ 8 w 151"/>
                  <a:gd name="T3" fmla="*/ 109 h 151"/>
                  <a:gd name="T4" fmla="*/ 18 w 151"/>
                  <a:gd name="T5" fmla="*/ 124 h 151"/>
                  <a:gd name="T6" fmla="*/ 31 w 151"/>
                  <a:gd name="T7" fmla="*/ 115 h 151"/>
                  <a:gd name="T8" fmla="*/ 43 w 151"/>
                  <a:gd name="T9" fmla="*/ 125 h 151"/>
                  <a:gd name="T10" fmla="*/ 35 w 151"/>
                  <a:gd name="T11" fmla="*/ 139 h 151"/>
                  <a:gd name="T12" fmla="*/ 69 w 151"/>
                  <a:gd name="T13" fmla="*/ 151 h 151"/>
                  <a:gd name="T14" fmla="*/ 72 w 151"/>
                  <a:gd name="T15" fmla="*/ 135 h 151"/>
                  <a:gd name="T16" fmla="*/ 87 w 151"/>
                  <a:gd name="T17" fmla="*/ 134 h 151"/>
                  <a:gd name="T18" fmla="*/ 92 w 151"/>
                  <a:gd name="T19" fmla="*/ 149 h 151"/>
                  <a:gd name="T20" fmla="*/ 109 w 151"/>
                  <a:gd name="T21" fmla="*/ 143 h 151"/>
                  <a:gd name="T22" fmla="*/ 124 w 151"/>
                  <a:gd name="T23" fmla="*/ 133 h 151"/>
                  <a:gd name="T24" fmla="*/ 115 w 151"/>
                  <a:gd name="T25" fmla="*/ 120 h 151"/>
                  <a:gd name="T26" fmla="*/ 125 w 151"/>
                  <a:gd name="T27" fmla="*/ 108 h 151"/>
                  <a:gd name="T28" fmla="*/ 139 w 151"/>
                  <a:gd name="T29" fmla="*/ 115 h 151"/>
                  <a:gd name="T30" fmla="*/ 151 w 151"/>
                  <a:gd name="T31" fmla="*/ 82 h 151"/>
                  <a:gd name="T32" fmla="*/ 135 w 151"/>
                  <a:gd name="T33" fmla="*/ 79 h 151"/>
                  <a:gd name="T34" fmla="*/ 134 w 151"/>
                  <a:gd name="T35" fmla="*/ 64 h 151"/>
                  <a:gd name="T36" fmla="*/ 149 w 151"/>
                  <a:gd name="T37" fmla="*/ 59 h 151"/>
                  <a:gd name="T38" fmla="*/ 143 w 151"/>
                  <a:gd name="T39" fmla="*/ 42 h 151"/>
                  <a:gd name="T40" fmla="*/ 133 w 151"/>
                  <a:gd name="T41" fmla="*/ 27 h 151"/>
                  <a:gd name="T42" fmla="*/ 120 w 151"/>
                  <a:gd name="T43" fmla="*/ 36 h 151"/>
                  <a:gd name="T44" fmla="*/ 108 w 151"/>
                  <a:gd name="T45" fmla="*/ 26 h 151"/>
                  <a:gd name="T46" fmla="*/ 115 w 151"/>
                  <a:gd name="T47" fmla="*/ 12 h 151"/>
                  <a:gd name="T48" fmla="*/ 82 w 151"/>
                  <a:gd name="T49" fmla="*/ 0 h 151"/>
                  <a:gd name="T50" fmla="*/ 79 w 151"/>
                  <a:gd name="T51" fmla="*/ 16 h 151"/>
                  <a:gd name="T52" fmla="*/ 63 w 151"/>
                  <a:gd name="T53" fmla="*/ 17 h 151"/>
                  <a:gd name="T54" fmla="*/ 58 w 151"/>
                  <a:gd name="T55" fmla="*/ 2 h 151"/>
                  <a:gd name="T56" fmla="*/ 42 w 151"/>
                  <a:gd name="T57" fmla="*/ 8 h 151"/>
                  <a:gd name="T58" fmla="*/ 27 w 151"/>
                  <a:gd name="T59" fmla="*/ 18 h 151"/>
                  <a:gd name="T60" fmla="*/ 36 w 151"/>
                  <a:gd name="T61" fmla="*/ 31 h 151"/>
                  <a:gd name="T62" fmla="*/ 26 w 151"/>
                  <a:gd name="T63" fmla="*/ 43 h 151"/>
                  <a:gd name="T64" fmla="*/ 11 w 151"/>
                  <a:gd name="T65" fmla="*/ 36 h 151"/>
                  <a:gd name="T66" fmla="*/ 0 w 151"/>
                  <a:gd name="T67" fmla="*/ 69 h 151"/>
                  <a:gd name="T68" fmla="*/ 16 w 151"/>
                  <a:gd name="T69" fmla="*/ 72 h 151"/>
                  <a:gd name="T70" fmla="*/ 17 w 151"/>
                  <a:gd name="T71" fmla="*/ 88 h 151"/>
                  <a:gd name="T72" fmla="*/ 2 w 151"/>
                  <a:gd name="T73" fmla="*/ 93 h 151"/>
                  <a:gd name="T74" fmla="*/ 59 w 151"/>
                  <a:gd name="T75" fmla="*/ 43 h 151"/>
                  <a:gd name="T76" fmla="*/ 108 w 151"/>
                  <a:gd name="T77" fmla="*/ 59 h 151"/>
                  <a:gd name="T78" fmla="*/ 92 w 151"/>
                  <a:gd name="T79" fmla="*/ 108 h 151"/>
                  <a:gd name="T80" fmla="*/ 43 w 151"/>
                  <a:gd name="T81" fmla="*/ 92 h 151"/>
                  <a:gd name="T82" fmla="*/ 59 w 151"/>
                  <a:gd name="T83" fmla="*/ 43 h 151"/>
                  <a:gd name="T84" fmla="*/ 65 w 151"/>
                  <a:gd name="T85" fmla="*/ 54 h 151"/>
                  <a:gd name="T86" fmla="*/ 97 w 151"/>
                  <a:gd name="T87" fmla="*/ 65 h 151"/>
                  <a:gd name="T88" fmla="*/ 86 w 151"/>
                  <a:gd name="T89" fmla="*/ 97 h 151"/>
                  <a:gd name="T90" fmla="*/ 54 w 151"/>
                  <a:gd name="T91" fmla="*/ 86 h 151"/>
                  <a:gd name="T92" fmla="*/ 65 w 151"/>
                  <a:gd name="T93" fmla="*/ 54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1" h="151">
                    <a:moveTo>
                      <a:pt x="2" y="93"/>
                    </a:moveTo>
                    <a:cubicBezTo>
                      <a:pt x="3" y="98"/>
                      <a:pt x="5" y="104"/>
                      <a:pt x="8" y="109"/>
                    </a:cubicBezTo>
                    <a:cubicBezTo>
                      <a:pt x="11" y="115"/>
                      <a:pt x="14" y="119"/>
                      <a:pt x="18" y="124"/>
                    </a:cubicBezTo>
                    <a:cubicBezTo>
                      <a:pt x="31" y="115"/>
                      <a:pt x="31" y="115"/>
                      <a:pt x="31" y="115"/>
                    </a:cubicBezTo>
                    <a:cubicBezTo>
                      <a:pt x="34" y="119"/>
                      <a:pt x="38" y="122"/>
                      <a:pt x="43" y="125"/>
                    </a:cubicBezTo>
                    <a:cubicBezTo>
                      <a:pt x="35" y="139"/>
                      <a:pt x="35" y="139"/>
                      <a:pt x="35" y="139"/>
                    </a:cubicBezTo>
                    <a:cubicBezTo>
                      <a:pt x="46" y="146"/>
                      <a:pt x="57" y="150"/>
                      <a:pt x="69" y="151"/>
                    </a:cubicBezTo>
                    <a:cubicBezTo>
                      <a:pt x="72" y="135"/>
                      <a:pt x="72" y="135"/>
                      <a:pt x="72" y="135"/>
                    </a:cubicBezTo>
                    <a:cubicBezTo>
                      <a:pt x="77" y="135"/>
                      <a:pt x="82" y="135"/>
                      <a:pt x="87" y="134"/>
                    </a:cubicBezTo>
                    <a:cubicBezTo>
                      <a:pt x="92" y="149"/>
                      <a:pt x="92" y="149"/>
                      <a:pt x="92" y="149"/>
                    </a:cubicBezTo>
                    <a:cubicBezTo>
                      <a:pt x="98" y="148"/>
                      <a:pt x="104" y="146"/>
                      <a:pt x="109" y="143"/>
                    </a:cubicBezTo>
                    <a:cubicBezTo>
                      <a:pt x="114" y="140"/>
                      <a:pt x="119" y="137"/>
                      <a:pt x="124" y="133"/>
                    </a:cubicBezTo>
                    <a:cubicBezTo>
                      <a:pt x="115" y="120"/>
                      <a:pt x="115" y="120"/>
                      <a:pt x="115" y="120"/>
                    </a:cubicBezTo>
                    <a:cubicBezTo>
                      <a:pt x="119" y="117"/>
                      <a:pt x="122" y="113"/>
                      <a:pt x="125" y="108"/>
                    </a:cubicBezTo>
                    <a:cubicBezTo>
                      <a:pt x="139" y="115"/>
                      <a:pt x="139" y="115"/>
                      <a:pt x="139" y="115"/>
                    </a:cubicBezTo>
                    <a:cubicBezTo>
                      <a:pt x="146" y="105"/>
                      <a:pt x="149" y="94"/>
                      <a:pt x="151" y="82"/>
                    </a:cubicBezTo>
                    <a:cubicBezTo>
                      <a:pt x="135" y="79"/>
                      <a:pt x="135" y="79"/>
                      <a:pt x="135" y="79"/>
                    </a:cubicBezTo>
                    <a:cubicBezTo>
                      <a:pt x="135" y="74"/>
                      <a:pt x="135" y="69"/>
                      <a:pt x="134" y="64"/>
                    </a:cubicBezTo>
                    <a:cubicBezTo>
                      <a:pt x="149" y="59"/>
                      <a:pt x="149" y="59"/>
                      <a:pt x="149" y="59"/>
                    </a:cubicBezTo>
                    <a:cubicBezTo>
                      <a:pt x="148" y="53"/>
                      <a:pt x="146" y="47"/>
                      <a:pt x="143" y="42"/>
                    </a:cubicBezTo>
                    <a:cubicBezTo>
                      <a:pt x="140" y="36"/>
                      <a:pt x="137" y="32"/>
                      <a:pt x="133" y="27"/>
                    </a:cubicBezTo>
                    <a:cubicBezTo>
                      <a:pt x="120" y="36"/>
                      <a:pt x="120" y="36"/>
                      <a:pt x="120" y="36"/>
                    </a:cubicBezTo>
                    <a:cubicBezTo>
                      <a:pt x="116" y="32"/>
                      <a:pt x="112" y="29"/>
                      <a:pt x="108" y="26"/>
                    </a:cubicBezTo>
                    <a:cubicBezTo>
                      <a:pt x="115" y="12"/>
                      <a:pt x="115" y="12"/>
                      <a:pt x="115" y="12"/>
                    </a:cubicBezTo>
                    <a:cubicBezTo>
                      <a:pt x="105" y="5"/>
                      <a:pt x="94" y="1"/>
                      <a:pt x="82" y="0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74" y="16"/>
                      <a:pt x="69" y="16"/>
                      <a:pt x="63" y="17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53" y="3"/>
                      <a:pt x="47" y="5"/>
                      <a:pt x="42" y="8"/>
                    </a:cubicBezTo>
                    <a:cubicBezTo>
                      <a:pt x="36" y="11"/>
                      <a:pt x="31" y="14"/>
                      <a:pt x="27" y="18"/>
                    </a:cubicBezTo>
                    <a:cubicBezTo>
                      <a:pt x="36" y="31"/>
                      <a:pt x="36" y="31"/>
                      <a:pt x="36" y="31"/>
                    </a:cubicBezTo>
                    <a:cubicBezTo>
                      <a:pt x="32" y="34"/>
                      <a:pt x="29" y="38"/>
                      <a:pt x="26" y="43"/>
                    </a:cubicBezTo>
                    <a:cubicBezTo>
                      <a:pt x="11" y="36"/>
                      <a:pt x="11" y="36"/>
                      <a:pt x="11" y="36"/>
                    </a:cubicBezTo>
                    <a:cubicBezTo>
                      <a:pt x="5" y="46"/>
                      <a:pt x="1" y="57"/>
                      <a:pt x="0" y="69"/>
                    </a:cubicBezTo>
                    <a:cubicBezTo>
                      <a:pt x="16" y="72"/>
                      <a:pt x="16" y="72"/>
                      <a:pt x="16" y="72"/>
                    </a:cubicBezTo>
                    <a:cubicBezTo>
                      <a:pt x="16" y="77"/>
                      <a:pt x="16" y="82"/>
                      <a:pt x="17" y="88"/>
                    </a:cubicBezTo>
                    <a:lnTo>
                      <a:pt x="2" y="93"/>
                    </a:lnTo>
                    <a:close/>
                    <a:moveTo>
                      <a:pt x="59" y="43"/>
                    </a:moveTo>
                    <a:cubicBezTo>
                      <a:pt x="77" y="34"/>
                      <a:pt x="99" y="41"/>
                      <a:pt x="108" y="59"/>
                    </a:cubicBezTo>
                    <a:cubicBezTo>
                      <a:pt x="117" y="77"/>
                      <a:pt x="110" y="99"/>
                      <a:pt x="92" y="108"/>
                    </a:cubicBezTo>
                    <a:cubicBezTo>
                      <a:pt x="74" y="117"/>
                      <a:pt x="52" y="110"/>
                      <a:pt x="43" y="92"/>
                    </a:cubicBezTo>
                    <a:cubicBezTo>
                      <a:pt x="34" y="74"/>
                      <a:pt x="41" y="52"/>
                      <a:pt x="59" y="43"/>
                    </a:cubicBezTo>
                    <a:close/>
                    <a:moveTo>
                      <a:pt x="65" y="54"/>
                    </a:moveTo>
                    <a:cubicBezTo>
                      <a:pt x="77" y="48"/>
                      <a:pt x="91" y="53"/>
                      <a:pt x="97" y="65"/>
                    </a:cubicBezTo>
                    <a:cubicBezTo>
                      <a:pt x="103" y="77"/>
                      <a:pt x="98" y="91"/>
                      <a:pt x="86" y="97"/>
                    </a:cubicBezTo>
                    <a:cubicBezTo>
                      <a:pt x="74" y="103"/>
                      <a:pt x="60" y="98"/>
                      <a:pt x="54" y="86"/>
                    </a:cubicBezTo>
                    <a:cubicBezTo>
                      <a:pt x="48" y="74"/>
                      <a:pt x="53" y="60"/>
                      <a:pt x="65" y="54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" name="任意多边形: 形状 30"/>
              <p:cNvSpPr/>
              <p:nvPr/>
            </p:nvSpPr>
            <p:spPr bwMode="auto">
              <a:xfrm>
                <a:off x="4579938" y="1709738"/>
                <a:ext cx="465138" cy="465138"/>
              </a:xfrm>
              <a:custGeom>
                <a:avLst/>
                <a:gdLst>
                  <a:gd name="T0" fmla="*/ 86 w 104"/>
                  <a:gd name="T1" fmla="*/ 91 h 104"/>
                  <a:gd name="T2" fmla="*/ 94 w 104"/>
                  <a:gd name="T3" fmla="*/ 82 h 104"/>
                  <a:gd name="T4" fmla="*/ 100 w 104"/>
                  <a:gd name="T5" fmla="*/ 71 h 104"/>
                  <a:gd name="T6" fmla="*/ 90 w 104"/>
                  <a:gd name="T7" fmla="*/ 66 h 104"/>
                  <a:gd name="T8" fmla="*/ 93 w 104"/>
                  <a:gd name="T9" fmla="*/ 56 h 104"/>
                  <a:gd name="T10" fmla="*/ 104 w 104"/>
                  <a:gd name="T11" fmla="*/ 56 h 104"/>
                  <a:gd name="T12" fmla="*/ 100 w 104"/>
                  <a:gd name="T13" fmla="*/ 32 h 104"/>
                  <a:gd name="T14" fmla="*/ 89 w 104"/>
                  <a:gd name="T15" fmla="*/ 35 h 104"/>
                  <a:gd name="T16" fmla="*/ 84 w 104"/>
                  <a:gd name="T17" fmla="*/ 26 h 104"/>
                  <a:gd name="T18" fmla="*/ 91 w 104"/>
                  <a:gd name="T19" fmla="*/ 18 h 104"/>
                  <a:gd name="T20" fmla="*/ 82 w 104"/>
                  <a:gd name="T21" fmla="*/ 10 h 104"/>
                  <a:gd name="T22" fmla="*/ 72 w 104"/>
                  <a:gd name="T23" fmla="*/ 4 h 104"/>
                  <a:gd name="T24" fmla="*/ 67 w 104"/>
                  <a:gd name="T25" fmla="*/ 14 h 104"/>
                  <a:gd name="T26" fmla="*/ 56 w 104"/>
                  <a:gd name="T27" fmla="*/ 11 h 104"/>
                  <a:gd name="T28" fmla="*/ 56 w 104"/>
                  <a:gd name="T29" fmla="*/ 0 h 104"/>
                  <a:gd name="T30" fmla="*/ 32 w 104"/>
                  <a:gd name="T31" fmla="*/ 4 h 104"/>
                  <a:gd name="T32" fmla="*/ 36 w 104"/>
                  <a:gd name="T33" fmla="*/ 15 h 104"/>
                  <a:gd name="T34" fmla="*/ 26 w 104"/>
                  <a:gd name="T35" fmla="*/ 20 h 104"/>
                  <a:gd name="T36" fmla="*/ 18 w 104"/>
                  <a:gd name="T37" fmla="*/ 13 h 104"/>
                  <a:gd name="T38" fmla="*/ 10 w 104"/>
                  <a:gd name="T39" fmla="*/ 22 h 104"/>
                  <a:gd name="T40" fmla="*/ 4 w 104"/>
                  <a:gd name="T41" fmla="*/ 32 h 104"/>
                  <a:gd name="T42" fmla="*/ 14 w 104"/>
                  <a:gd name="T43" fmla="*/ 37 h 104"/>
                  <a:gd name="T44" fmla="*/ 12 w 104"/>
                  <a:gd name="T45" fmla="*/ 48 h 104"/>
                  <a:gd name="T46" fmla="*/ 1 w 104"/>
                  <a:gd name="T47" fmla="*/ 48 h 104"/>
                  <a:gd name="T48" fmla="*/ 5 w 104"/>
                  <a:gd name="T49" fmla="*/ 72 h 104"/>
                  <a:gd name="T50" fmla="*/ 15 w 104"/>
                  <a:gd name="T51" fmla="*/ 69 h 104"/>
                  <a:gd name="T52" fmla="*/ 21 w 104"/>
                  <a:gd name="T53" fmla="*/ 78 h 104"/>
                  <a:gd name="T54" fmla="*/ 13 w 104"/>
                  <a:gd name="T55" fmla="*/ 86 h 104"/>
                  <a:gd name="T56" fmla="*/ 22 w 104"/>
                  <a:gd name="T57" fmla="*/ 94 h 104"/>
                  <a:gd name="T58" fmla="*/ 33 w 104"/>
                  <a:gd name="T59" fmla="*/ 100 h 104"/>
                  <a:gd name="T60" fmla="*/ 38 w 104"/>
                  <a:gd name="T61" fmla="*/ 90 h 104"/>
                  <a:gd name="T62" fmla="*/ 48 w 104"/>
                  <a:gd name="T63" fmla="*/ 92 h 104"/>
                  <a:gd name="T64" fmla="*/ 49 w 104"/>
                  <a:gd name="T65" fmla="*/ 103 h 104"/>
                  <a:gd name="T66" fmla="*/ 72 w 104"/>
                  <a:gd name="T67" fmla="*/ 100 h 104"/>
                  <a:gd name="T68" fmla="*/ 69 w 104"/>
                  <a:gd name="T69" fmla="*/ 89 h 104"/>
                  <a:gd name="T70" fmla="*/ 78 w 104"/>
                  <a:gd name="T71" fmla="*/ 83 h 104"/>
                  <a:gd name="T72" fmla="*/ 86 w 104"/>
                  <a:gd name="T73" fmla="*/ 91 h 104"/>
                  <a:gd name="T74" fmla="*/ 38 w 104"/>
                  <a:gd name="T75" fmla="*/ 72 h 104"/>
                  <a:gd name="T76" fmla="*/ 32 w 104"/>
                  <a:gd name="T77" fmla="*/ 37 h 104"/>
                  <a:gd name="T78" fmla="*/ 67 w 104"/>
                  <a:gd name="T79" fmla="*/ 32 h 104"/>
                  <a:gd name="T80" fmla="*/ 73 w 104"/>
                  <a:gd name="T81" fmla="*/ 66 h 104"/>
                  <a:gd name="T82" fmla="*/ 38 w 104"/>
                  <a:gd name="T83" fmla="*/ 7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4" h="104">
                    <a:moveTo>
                      <a:pt x="86" y="91"/>
                    </a:moveTo>
                    <a:cubicBezTo>
                      <a:pt x="89" y="88"/>
                      <a:pt x="92" y="85"/>
                      <a:pt x="94" y="82"/>
                    </a:cubicBezTo>
                    <a:cubicBezTo>
                      <a:pt x="97" y="79"/>
                      <a:pt x="99" y="75"/>
                      <a:pt x="100" y="71"/>
                    </a:cubicBezTo>
                    <a:cubicBezTo>
                      <a:pt x="90" y="66"/>
                      <a:pt x="90" y="66"/>
                      <a:pt x="90" y="66"/>
                    </a:cubicBezTo>
                    <a:cubicBezTo>
                      <a:pt x="92" y="63"/>
                      <a:pt x="92" y="59"/>
                      <a:pt x="93" y="56"/>
                    </a:cubicBezTo>
                    <a:cubicBezTo>
                      <a:pt x="104" y="56"/>
                      <a:pt x="104" y="56"/>
                      <a:pt x="104" y="56"/>
                    </a:cubicBezTo>
                    <a:cubicBezTo>
                      <a:pt x="104" y="47"/>
                      <a:pt x="103" y="39"/>
                      <a:pt x="100" y="32"/>
                    </a:cubicBezTo>
                    <a:cubicBezTo>
                      <a:pt x="89" y="35"/>
                      <a:pt x="89" y="35"/>
                      <a:pt x="89" y="35"/>
                    </a:cubicBezTo>
                    <a:cubicBezTo>
                      <a:pt x="88" y="32"/>
                      <a:pt x="86" y="29"/>
                      <a:pt x="84" y="26"/>
                    </a:cubicBezTo>
                    <a:cubicBezTo>
                      <a:pt x="91" y="18"/>
                      <a:pt x="91" y="18"/>
                      <a:pt x="91" y="18"/>
                    </a:cubicBezTo>
                    <a:cubicBezTo>
                      <a:pt x="89" y="15"/>
                      <a:pt x="86" y="12"/>
                      <a:pt x="82" y="10"/>
                    </a:cubicBezTo>
                    <a:cubicBezTo>
                      <a:pt x="79" y="7"/>
                      <a:pt x="75" y="6"/>
                      <a:pt x="72" y="4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3" y="13"/>
                      <a:pt x="60" y="12"/>
                      <a:pt x="56" y="11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48" y="0"/>
                      <a:pt x="40" y="1"/>
                      <a:pt x="32" y="4"/>
                    </a:cubicBezTo>
                    <a:cubicBezTo>
                      <a:pt x="36" y="15"/>
                      <a:pt x="36" y="15"/>
                      <a:pt x="36" y="15"/>
                    </a:cubicBezTo>
                    <a:cubicBezTo>
                      <a:pt x="32" y="16"/>
                      <a:pt x="29" y="18"/>
                      <a:pt x="26" y="20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5" y="15"/>
                      <a:pt x="13" y="18"/>
                      <a:pt x="10" y="22"/>
                    </a:cubicBezTo>
                    <a:cubicBezTo>
                      <a:pt x="8" y="25"/>
                      <a:pt x="6" y="29"/>
                      <a:pt x="4" y="32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3" y="41"/>
                      <a:pt x="12" y="44"/>
                      <a:pt x="12" y="48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0" y="56"/>
                      <a:pt x="2" y="64"/>
                      <a:pt x="5" y="72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7" y="72"/>
                      <a:pt x="19" y="75"/>
                      <a:pt x="21" y="78"/>
                    </a:cubicBezTo>
                    <a:cubicBezTo>
                      <a:pt x="13" y="86"/>
                      <a:pt x="13" y="86"/>
                      <a:pt x="13" y="86"/>
                    </a:cubicBezTo>
                    <a:cubicBezTo>
                      <a:pt x="16" y="89"/>
                      <a:pt x="19" y="92"/>
                      <a:pt x="22" y="94"/>
                    </a:cubicBezTo>
                    <a:cubicBezTo>
                      <a:pt x="26" y="96"/>
                      <a:pt x="29" y="98"/>
                      <a:pt x="33" y="100"/>
                    </a:cubicBezTo>
                    <a:cubicBezTo>
                      <a:pt x="38" y="90"/>
                      <a:pt x="38" y="90"/>
                      <a:pt x="38" y="90"/>
                    </a:cubicBezTo>
                    <a:cubicBezTo>
                      <a:pt x="41" y="91"/>
                      <a:pt x="45" y="92"/>
                      <a:pt x="48" y="92"/>
                    </a:cubicBezTo>
                    <a:cubicBezTo>
                      <a:pt x="49" y="103"/>
                      <a:pt x="49" y="103"/>
                      <a:pt x="49" y="103"/>
                    </a:cubicBezTo>
                    <a:cubicBezTo>
                      <a:pt x="57" y="104"/>
                      <a:pt x="65" y="103"/>
                      <a:pt x="72" y="100"/>
                    </a:cubicBezTo>
                    <a:cubicBezTo>
                      <a:pt x="69" y="89"/>
                      <a:pt x="69" y="89"/>
                      <a:pt x="69" y="89"/>
                    </a:cubicBezTo>
                    <a:cubicBezTo>
                      <a:pt x="72" y="88"/>
                      <a:pt x="75" y="86"/>
                      <a:pt x="78" y="83"/>
                    </a:cubicBezTo>
                    <a:lnTo>
                      <a:pt x="86" y="91"/>
                    </a:lnTo>
                    <a:close/>
                    <a:moveTo>
                      <a:pt x="38" y="72"/>
                    </a:moveTo>
                    <a:cubicBezTo>
                      <a:pt x="27" y="64"/>
                      <a:pt x="24" y="49"/>
                      <a:pt x="32" y="37"/>
                    </a:cubicBezTo>
                    <a:cubicBezTo>
                      <a:pt x="40" y="26"/>
                      <a:pt x="56" y="24"/>
                      <a:pt x="67" y="32"/>
                    </a:cubicBezTo>
                    <a:cubicBezTo>
                      <a:pt x="78" y="40"/>
                      <a:pt x="81" y="55"/>
                      <a:pt x="73" y="66"/>
                    </a:cubicBezTo>
                    <a:cubicBezTo>
                      <a:pt x="65" y="78"/>
                      <a:pt x="49" y="80"/>
                      <a:pt x="38" y="72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" name="任意多边形: 形状 31"/>
              <p:cNvSpPr/>
              <p:nvPr/>
            </p:nvSpPr>
            <p:spPr bwMode="auto">
              <a:xfrm>
                <a:off x="3735388" y="1874838"/>
                <a:ext cx="684213" cy="893763"/>
              </a:xfrm>
              <a:custGeom>
                <a:avLst/>
                <a:gdLst>
                  <a:gd name="T0" fmla="*/ 44 w 153"/>
                  <a:gd name="T1" fmla="*/ 14 h 200"/>
                  <a:gd name="T2" fmla="*/ 60 w 153"/>
                  <a:gd name="T3" fmla="*/ 4 h 200"/>
                  <a:gd name="T4" fmla="*/ 58 w 153"/>
                  <a:gd name="T5" fmla="*/ 0 h 200"/>
                  <a:gd name="T6" fmla="*/ 41 w 153"/>
                  <a:gd name="T7" fmla="*/ 11 h 200"/>
                  <a:gd name="T8" fmla="*/ 44 w 153"/>
                  <a:gd name="T9" fmla="*/ 14 h 200"/>
                  <a:gd name="T10" fmla="*/ 21 w 153"/>
                  <a:gd name="T11" fmla="*/ 38 h 200"/>
                  <a:gd name="T12" fmla="*/ 33 w 153"/>
                  <a:gd name="T13" fmla="*/ 23 h 200"/>
                  <a:gd name="T14" fmla="*/ 31 w 153"/>
                  <a:gd name="T15" fmla="*/ 20 h 200"/>
                  <a:gd name="T16" fmla="*/ 18 w 153"/>
                  <a:gd name="T17" fmla="*/ 36 h 200"/>
                  <a:gd name="T18" fmla="*/ 21 w 153"/>
                  <a:gd name="T19" fmla="*/ 38 h 200"/>
                  <a:gd name="T20" fmla="*/ 7 w 153"/>
                  <a:gd name="T21" fmla="*/ 68 h 200"/>
                  <a:gd name="T22" fmla="*/ 14 w 153"/>
                  <a:gd name="T23" fmla="*/ 50 h 200"/>
                  <a:gd name="T24" fmla="*/ 11 w 153"/>
                  <a:gd name="T25" fmla="*/ 48 h 200"/>
                  <a:gd name="T26" fmla="*/ 3 w 153"/>
                  <a:gd name="T27" fmla="*/ 67 h 200"/>
                  <a:gd name="T28" fmla="*/ 7 w 153"/>
                  <a:gd name="T29" fmla="*/ 68 h 200"/>
                  <a:gd name="T30" fmla="*/ 4 w 153"/>
                  <a:gd name="T31" fmla="*/ 101 h 200"/>
                  <a:gd name="T32" fmla="*/ 4 w 153"/>
                  <a:gd name="T33" fmla="*/ 95 h 200"/>
                  <a:gd name="T34" fmla="*/ 5 w 153"/>
                  <a:gd name="T35" fmla="*/ 82 h 200"/>
                  <a:gd name="T36" fmla="*/ 1 w 153"/>
                  <a:gd name="T37" fmla="*/ 81 h 200"/>
                  <a:gd name="T38" fmla="*/ 0 w 153"/>
                  <a:gd name="T39" fmla="*/ 95 h 200"/>
                  <a:gd name="T40" fmla="*/ 0 w 153"/>
                  <a:gd name="T41" fmla="*/ 101 h 200"/>
                  <a:gd name="T42" fmla="*/ 4 w 153"/>
                  <a:gd name="T43" fmla="*/ 101 h 200"/>
                  <a:gd name="T44" fmla="*/ 12 w 153"/>
                  <a:gd name="T45" fmla="*/ 133 h 200"/>
                  <a:gd name="T46" fmla="*/ 6 w 153"/>
                  <a:gd name="T47" fmla="*/ 115 h 200"/>
                  <a:gd name="T48" fmla="*/ 2 w 153"/>
                  <a:gd name="T49" fmla="*/ 116 h 200"/>
                  <a:gd name="T50" fmla="*/ 8 w 153"/>
                  <a:gd name="T51" fmla="*/ 135 h 200"/>
                  <a:gd name="T52" fmla="*/ 12 w 153"/>
                  <a:gd name="T53" fmla="*/ 133 h 200"/>
                  <a:gd name="T54" fmla="*/ 29 w 153"/>
                  <a:gd name="T55" fmla="*/ 162 h 200"/>
                  <a:gd name="T56" fmla="*/ 18 w 153"/>
                  <a:gd name="T57" fmla="*/ 146 h 200"/>
                  <a:gd name="T58" fmla="*/ 14 w 153"/>
                  <a:gd name="T59" fmla="*/ 148 h 200"/>
                  <a:gd name="T60" fmla="*/ 26 w 153"/>
                  <a:gd name="T61" fmla="*/ 164 h 200"/>
                  <a:gd name="T62" fmla="*/ 29 w 153"/>
                  <a:gd name="T63" fmla="*/ 162 h 200"/>
                  <a:gd name="T64" fmla="*/ 55 w 153"/>
                  <a:gd name="T65" fmla="*/ 183 h 200"/>
                  <a:gd name="T66" fmla="*/ 39 w 153"/>
                  <a:gd name="T67" fmla="*/ 171 h 200"/>
                  <a:gd name="T68" fmla="*/ 36 w 153"/>
                  <a:gd name="T69" fmla="*/ 174 h 200"/>
                  <a:gd name="T70" fmla="*/ 53 w 153"/>
                  <a:gd name="T71" fmla="*/ 186 h 200"/>
                  <a:gd name="T72" fmla="*/ 55 w 153"/>
                  <a:gd name="T73" fmla="*/ 183 h 200"/>
                  <a:gd name="T74" fmla="*/ 86 w 153"/>
                  <a:gd name="T75" fmla="*/ 194 h 200"/>
                  <a:gd name="T76" fmla="*/ 67 w 153"/>
                  <a:gd name="T77" fmla="*/ 189 h 200"/>
                  <a:gd name="T78" fmla="*/ 66 w 153"/>
                  <a:gd name="T79" fmla="*/ 192 h 200"/>
                  <a:gd name="T80" fmla="*/ 85 w 153"/>
                  <a:gd name="T81" fmla="*/ 198 h 200"/>
                  <a:gd name="T82" fmla="*/ 86 w 153"/>
                  <a:gd name="T83" fmla="*/ 194 h 200"/>
                  <a:gd name="T84" fmla="*/ 119 w 153"/>
                  <a:gd name="T85" fmla="*/ 195 h 200"/>
                  <a:gd name="T86" fmla="*/ 105 w 153"/>
                  <a:gd name="T87" fmla="*/ 196 h 200"/>
                  <a:gd name="T88" fmla="*/ 99 w 153"/>
                  <a:gd name="T89" fmla="*/ 196 h 200"/>
                  <a:gd name="T90" fmla="*/ 99 w 153"/>
                  <a:gd name="T91" fmla="*/ 200 h 200"/>
                  <a:gd name="T92" fmla="*/ 105 w 153"/>
                  <a:gd name="T93" fmla="*/ 200 h 200"/>
                  <a:gd name="T94" fmla="*/ 120 w 153"/>
                  <a:gd name="T95" fmla="*/ 199 h 200"/>
                  <a:gd name="T96" fmla="*/ 119 w 153"/>
                  <a:gd name="T97" fmla="*/ 195 h 200"/>
                  <a:gd name="T98" fmla="*/ 151 w 153"/>
                  <a:gd name="T99" fmla="*/ 186 h 200"/>
                  <a:gd name="T100" fmla="*/ 132 w 153"/>
                  <a:gd name="T101" fmla="*/ 193 h 200"/>
                  <a:gd name="T102" fmla="*/ 134 w 153"/>
                  <a:gd name="T103" fmla="*/ 196 h 200"/>
                  <a:gd name="T104" fmla="*/ 153 w 153"/>
                  <a:gd name="T105" fmla="*/ 189 h 200"/>
                  <a:gd name="T106" fmla="*/ 151 w 153"/>
                  <a:gd name="T107" fmla="*/ 186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3" h="200">
                    <a:moveTo>
                      <a:pt x="44" y="14"/>
                    </a:moveTo>
                    <a:cubicBezTo>
                      <a:pt x="49" y="10"/>
                      <a:pt x="54" y="6"/>
                      <a:pt x="60" y="4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52" y="3"/>
                      <a:pt x="46" y="7"/>
                      <a:pt x="41" y="11"/>
                    </a:cubicBezTo>
                    <a:lnTo>
                      <a:pt x="44" y="14"/>
                    </a:lnTo>
                    <a:close/>
                    <a:moveTo>
                      <a:pt x="21" y="38"/>
                    </a:moveTo>
                    <a:cubicBezTo>
                      <a:pt x="25" y="33"/>
                      <a:pt x="29" y="27"/>
                      <a:pt x="33" y="23"/>
                    </a:cubicBezTo>
                    <a:cubicBezTo>
                      <a:pt x="31" y="20"/>
                      <a:pt x="31" y="20"/>
                      <a:pt x="31" y="20"/>
                    </a:cubicBezTo>
                    <a:cubicBezTo>
                      <a:pt x="26" y="25"/>
                      <a:pt x="21" y="30"/>
                      <a:pt x="18" y="36"/>
                    </a:cubicBezTo>
                    <a:cubicBezTo>
                      <a:pt x="21" y="38"/>
                      <a:pt x="21" y="38"/>
                      <a:pt x="21" y="38"/>
                    </a:cubicBezTo>
                    <a:close/>
                    <a:moveTo>
                      <a:pt x="7" y="68"/>
                    </a:moveTo>
                    <a:cubicBezTo>
                      <a:pt x="9" y="62"/>
                      <a:pt x="11" y="56"/>
                      <a:pt x="14" y="50"/>
                    </a:cubicBezTo>
                    <a:cubicBezTo>
                      <a:pt x="11" y="48"/>
                      <a:pt x="11" y="48"/>
                      <a:pt x="11" y="48"/>
                    </a:cubicBezTo>
                    <a:cubicBezTo>
                      <a:pt x="8" y="54"/>
                      <a:pt x="5" y="61"/>
                      <a:pt x="3" y="67"/>
                    </a:cubicBezTo>
                    <a:cubicBezTo>
                      <a:pt x="7" y="68"/>
                      <a:pt x="7" y="68"/>
                      <a:pt x="7" y="68"/>
                    </a:cubicBezTo>
                    <a:close/>
                    <a:moveTo>
                      <a:pt x="4" y="101"/>
                    </a:moveTo>
                    <a:cubicBezTo>
                      <a:pt x="4" y="99"/>
                      <a:pt x="4" y="97"/>
                      <a:pt x="4" y="95"/>
                    </a:cubicBezTo>
                    <a:cubicBezTo>
                      <a:pt x="4" y="90"/>
                      <a:pt x="4" y="86"/>
                      <a:pt x="5" y="82"/>
                    </a:cubicBezTo>
                    <a:cubicBezTo>
                      <a:pt x="1" y="81"/>
                      <a:pt x="1" y="81"/>
                      <a:pt x="1" y="81"/>
                    </a:cubicBezTo>
                    <a:cubicBezTo>
                      <a:pt x="0" y="86"/>
                      <a:pt x="0" y="90"/>
                      <a:pt x="0" y="95"/>
                    </a:cubicBezTo>
                    <a:cubicBezTo>
                      <a:pt x="0" y="97"/>
                      <a:pt x="0" y="99"/>
                      <a:pt x="0" y="101"/>
                    </a:cubicBezTo>
                    <a:lnTo>
                      <a:pt x="4" y="101"/>
                    </a:lnTo>
                    <a:close/>
                    <a:moveTo>
                      <a:pt x="12" y="133"/>
                    </a:moveTo>
                    <a:cubicBezTo>
                      <a:pt x="9" y="127"/>
                      <a:pt x="7" y="121"/>
                      <a:pt x="6" y="115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3" y="122"/>
                      <a:pt x="5" y="129"/>
                      <a:pt x="8" y="135"/>
                    </a:cubicBezTo>
                    <a:lnTo>
                      <a:pt x="12" y="133"/>
                    </a:lnTo>
                    <a:close/>
                    <a:moveTo>
                      <a:pt x="29" y="162"/>
                    </a:moveTo>
                    <a:cubicBezTo>
                      <a:pt x="25" y="157"/>
                      <a:pt x="21" y="152"/>
                      <a:pt x="18" y="146"/>
                    </a:cubicBezTo>
                    <a:cubicBezTo>
                      <a:pt x="14" y="148"/>
                      <a:pt x="14" y="148"/>
                      <a:pt x="14" y="148"/>
                    </a:cubicBezTo>
                    <a:cubicBezTo>
                      <a:pt x="18" y="154"/>
                      <a:pt x="22" y="159"/>
                      <a:pt x="26" y="164"/>
                    </a:cubicBezTo>
                    <a:cubicBezTo>
                      <a:pt x="29" y="162"/>
                      <a:pt x="29" y="162"/>
                      <a:pt x="29" y="162"/>
                    </a:cubicBezTo>
                    <a:close/>
                    <a:moveTo>
                      <a:pt x="55" y="183"/>
                    </a:moveTo>
                    <a:cubicBezTo>
                      <a:pt x="49" y="179"/>
                      <a:pt x="44" y="176"/>
                      <a:pt x="39" y="171"/>
                    </a:cubicBezTo>
                    <a:cubicBezTo>
                      <a:pt x="36" y="174"/>
                      <a:pt x="36" y="174"/>
                      <a:pt x="36" y="174"/>
                    </a:cubicBezTo>
                    <a:cubicBezTo>
                      <a:pt x="41" y="179"/>
                      <a:pt x="47" y="183"/>
                      <a:pt x="53" y="186"/>
                    </a:cubicBezTo>
                    <a:lnTo>
                      <a:pt x="55" y="183"/>
                    </a:lnTo>
                    <a:close/>
                    <a:moveTo>
                      <a:pt x="86" y="194"/>
                    </a:moveTo>
                    <a:cubicBezTo>
                      <a:pt x="79" y="193"/>
                      <a:pt x="73" y="191"/>
                      <a:pt x="67" y="189"/>
                    </a:cubicBezTo>
                    <a:cubicBezTo>
                      <a:pt x="66" y="192"/>
                      <a:pt x="66" y="192"/>
                      <a:pt x="66" y="192"/>
                    </a:cubicBezTo>
                    <a:cubicBezTo>
                      <a:pt x="72" y="195"/>
                      <a:pt x="78" y="197"/>
                      <a:pt x="85" y="198"/>
                    </a:cubicBezTo>
                    <a:cubicBezTo>
                      <a:pt x="86" y="194"/>
                      <a:pt x="86" y="194"/>
                      <a:pt x="86" y="194"/>
                    </a:cubicBezTo>
                    <a:close/>
                    <a:moveTo>
                      <a:pt x="119" y="195"/>
                    </a:moveTo>
                    <a:cubicBezTo>
                      <a:pt x="115" y="196"/>
                      <a:pt x="110" y="196"/>
                      <a:pt x="105" y="196"/>
                    </a:cubicBezTo>
                    <a:cubicBezTo>
                      <a:pt x="103" y="196"/>
                      <a:pt x="101" y="196"/>
                      <a:pt x="99" y="196"/>
                    </a:cubicBezTo>
                    <a:cubicBezTo>
                      <a:pt x="99" y="200"/>
                      <a:pt x="99" y="200"/>
                      <a:pt x="99" y="200"/>
                    </a:cubicBezTo>
                    <a:cubicBezTo>
                      <a:pt x="101" y="200"/>
                      <a:pt x="103" y="200"/>
                      <a:pt x="105" y="200"/>
                    </a:cubicBezTo>
                    <a:cubicBezTo>
                      <a:pt x="110" y="200"/>
                      <a:pt x="115" y="200"/>
                      <a:pt x="120" y="199"/>
                    </a:cubicBezTo>
                    <a:cubicBezTo>
                      <a:pt x="119" y="195"/>
                      <a:pt x="119" y="195"/>
                      <a:pt x="119" y="195"/>
                    </a:cubicBezTo>
                    <a:close/>
                    <a:moveTo>
                      <a:pt x="151" y="186"/>
                    </a:moveTo>
                    <a:cubicBezTo>
                      <a:pt x="145" y="188"/>
                      <a:pt x="139" y="191"/>
                      <a:pt x="132" y="193"/>
                    </a:cubicBezTo>
                    <a:cubicBezTo>
                      <a:pt x="134" y="196"/>
                      <a:pt x="134" y="196"/>
                      <a:pt x="134" y="196"/>
                    </a:cubicBezTo>
                    <a:cubicBezTo>
                      <a:pt x="140" y="195"/>
                      <a:pt x="146" y="192"/>
                      <a:pt x="153" y="189"/>
                    </a:cubicBezTo>
                    <a:cubicBezTo>
                      <a:pt x="151" y="186"/>
                      <a:pt x="151" y="186"/>
                      <a:pt x="151" y="186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3" name="任意多边形: 形状 32"/>
              <p:cNvSpPr/>
              <p:nvPr/>
            </p:nvSpPr>
            <p:spPr bwMode="auto">
              <a:xfrm>
                <a:off x="4535488" y="1704976"/>
                <a:ext cx="41275" cy="49213"/>
              </a:xfrm>
              <a:custGeom>
                <a:avLst/>
                <a:gdLst>
                  <a:gd name="T0" fmla="*/ 3 w 9"/>
                  <a:gd name="T1" fmla="*/ 11 h 11"/>
                  <a:gd name="T2" fmla="*/ 9 w 9"/>
                  <a:gd name="T3" fmla="*/ 3 h 11"/>
                  <a:gd name="T4" fmla="*/ 6 w 9"/>
                  <a:gd name="T5" fmla="*/ 0 h 11"/>
                  <a:gd name="T6" fmla="*/ 0 w 9"/>
                  <a:gd name="T7" fmla="*/ 8 h 11"/>
                  <a:gd name="T8" fmla="*/ 3 w 9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1">
                    <a:moveTo>
                      <a:pt x="3" y="11"/>
                    </a:moveTo>
                    <a:cubicBezTo>
                      <a:pt x="5" y="8"/>
                      <a:pt x="7" y="5"/>
                      <a:pt x="9" y="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3"/>
                      <a:pt x="2" y="5"/>
                      <a:pt x="0" y="8"/>
                    </a:cubicBezTo>
                    <a:cubicBezTo>
                      <a:pt x="3" y="11"/>
                      <a:pt x="3" y="11"/>
                      <a:pt x="3" y="11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4" name="任意多边形: 形状 33"/>
              <p:cNvSpPr/>
              <p:nvPr/>
            </p:nvSpPr>
            <p:spPr bwMode="auto">
              <a:xfrm>
                <a:off x="4621213" y="1597026"/>
                <a:ext cx="280988" cy="76200"/>
              </a:xfrm>
              <a:custGeom>
                <a:avLst/>
                <a:gdLst>
                  <a:gd name="T0" fmla="*/ 39 w 63"/>
                  <a:gd name="T1" fmla="*/ 4 h 17"/>
                  <a:gd name="T2" fmla="*/ 43 w 63"/>
                  <a:gd name="T3" fmla="*/ 4 h 17"/>
                  <a:gd name="T4" fmla="*/ 62 w 63"/>
                  <a:gd name="T5" fmla="*/ 7 h 17"/>
                  <a:gd name="T6" fmla="*/ 63 w 63"/>
                  <a:gd name="T7" fmla="*/ 3 h 17"/>
                  <a:gd name="T8" fmla="*/ 43 w 63"/>
                  <a:gd name="T9" fmla="*/ 0 h 17"/>
                  <a:gd name="T10" fmla="*/ 39 w 63"/>
                  <a:gd name="T11" fmla="*/ 0 h 17"/>
                  <a:gd name="T12" fmla="*/ 39 w 63"/>
                  <a:gd name="T13" fmla="*/ 4 h 17"/>
                  <a:gd name="T14" fmla="*/ 3 w 63"/>
                  <a:gd name="T15" fmla="*/ 17 h 17"/>
                  <a:gd name="T16" fmla="*/ 24 w 63"/>
                  <a:gd name="T17" fmla="*/ 7 h 17"/>
                  <a:gd name="T18" fmla="*/ 22 w 63"/>
                  <a:gd name="T19" fmla="*/ 3 h 17"/>
                  <a:gd name="T20" fmla="*/ 0 w 63"/>
                  <a:gd name="T21" fmla="*/ 13 h 17"/>
                  <a:gd name="T22" fmla="*/ 3 w 63"/>
                  <a:gd name="T23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3" h="17">
                    <a:moveTo>
                      <a:pt x="39" y="4"/>
                    </a:moveTo>
                    <a:cubicBezTo>
                      <a:pt x="41" y="4"/>
                      <a:pt x="42" y="4"/>
                      <a:pt x="43" y="4"/>
                    </a:cubicBezTo>
                    <a:cubicBezTo>
                      <a:pt x="50" y="4"/>
                      <a:pt x="56" y="5"/>
                      <a:pt x="62" y="7"/>
                    </a:cubicBezTo>
                    <a:cubicBezTo>
                      <a:pt x="63" y="3"/>
                      <a:pt x="63" y="3"/>
                      <a:pt x="63" y="3"/>
                    </a:cubicBezTo>
                    <a:cubicBezTo>
                      <a:pt x="57" y="1"/>
                      <a:pt x="50" y="0"/>
                      <a:pt x="43" y="0"/>
                    </a:cubicBezTo>
                    <a:cubicBezTo>
                      <a:pt x="42" y="0"/>
                      <a:pt x="41" y="0"/>
                      <a:pt x="39" y="0"/>
                    </a:cubicBezTo>
                    <a:cubicBezTo>
                      <a:pt x="39" y="4"/>
                      <a:pt x="39" y="4"/>
                      <a:pt x="39" y="4"/>
                    </a:cubicBezTo>
                    <a:close/>
                    <a:moveTo>
                      <a:pt x="3" y="17"/>
                    </a:moveTo>
                    <a:cubicBezTo>
                      <a:pt x="9" y="12"/>
                      <a:pt x="16" y="9"/>
                      <a:pt x="24" y="7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15" y="5"/>
                      <a:pt x="7" y="9"/>
                      <a:pt x="0" y="13"/>
                    </a:cubicBezTo>
                    <a:cubicBezTo>
                      <a:pt x="3" y="17"/>
                      <a:pt x="3" y="17"/>
                      <a:pt x="3" y="17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5" name="任意多边形: 形状 34"/>
              <p:cNvSpPr/>
              <p:nvPr/>
            </p:nvSpPr>
            <p:spPr bwMode="auto">
              <a:xfrm>
                <a:off x="4965700" y="1638301"/>
                <a:ext cx="49213" cy="39688"/>
              </a:xfrm>
              <a:custGeom>
                <a:avLst/>
                <a:gdLst>
                  <a:gd name="T0" fmla="*/ 0 w 11"/>
                  <a:gd name="T1" fmla="*/ 4 h 9"/>
                  <a:gd name="T2" fmla="*/ 9 w 11"/>
                  <a:gd name="T3" fmla="*/ 9 h 9"/>
                  <a:gd name="T4" fmla="*/ 11 w 11"/>
                  <a:gd name="T5" fmla="*/ 6 h 9"/>
                  <a:gd name="T6" fmla="*/ 2 w 11"/>
                  <a:gd name="T7" fmla="*/ 0 h 9"/>
                  <a:gd name="T8" fmla="*/ 0 w 11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0" y="4"/>
                    </a:moveTo>
                    <a:cubicBezTo>
                      <a:pt x="3" y="5"/>
                      <a:pt x="6" y="7"/>
                      <a:pt x="9" y="9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8" y="4"/>
                      <a:pt x="5" y="2"/>
                      <a:pt x="2" y="0"/>
                    </a:cubicBezTo>
                    <a:cubicBezTo>
                      <a:pt x="0" y="4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6" name="任意多边形: 形状 35"/>
              <p:cNvSpPr/>
              <p:nvPr/>
            </p:nvSpPr>
            <p:spPr bwMode="auto">
              <a:xfrm>
                <a:off x="7575550" y="3194051"/>
                <a:ext cx="103188" cy="142875"/>
              </a:xfrm>
              <a:custGeom>
                <a:avLst/>
                <a:gdLst>
                  <a:gd name="T0" fmla="*/ 9 w 23"/>
                  <a:gd name="T1" fmla="*/ 0 h 32"/>
                  <a:gd name="T2" fmla="*/ 3 w 23"/>
                  <a:gd name="T3" fmla="*/ 30 h 32"/>
                  <a:gd name="T4" fmla="*/ 23 w 23"/>
                  <a:gd name="T5" fmla="*/ 29 h 32"/>
                  <a:gd name="T6" fmla="*/ 23 w 23"/>
                  <a:gd name="T7" fmla="*/ 0 h 32"/>
                  <a:gd name="T8" fmla="*/ 9 w 23"/>
                  <a:gd name="T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32">
                    <a:moveTo>
                      <a:pt x="9" y="0"/>
                    </a:moveTo>
                    <a:cubicBezTo>
                      <a:pt x="9" y="0"/>
                      <a:pt x="0" y="15"/>
                      <a:pt x="3" y="30"/>
                    </a:cubicBezTo>
                    <a:cubicBezTo>
                      <a:pt x="8" y="32"/>
                      <a:pt x="23" y="29"/>
                      <a:pt x="23" y="29"/>
                    </a:cubicBezTo>
                    <a:cubicBezTo>
                      <a:pt x="23" y="0"/>
                      <a:pt x="23" y="0"/>
                      <a:pt x="23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7" name="任意多边形: 形状 36"/>
              <p:cNvSpPr/>
              <p:nvPr/>
            </p:nvSpPr>
            <p:spPr bwMode="auto">
              <a:xfrm>
                <a:off x="7011988" y="3359151"/>
                <a:ext cx="80963" cy="90488"/>
              </a:xfrm>
              <a:custGeom>
                <a:avLst/>
                <a:gdLst>
                  <a:gd name="T0" fmla="*/ 18 w 18"/>
                  <a:gd name="T1" fmla="*/ 14 h 20"/>
                  <a:gd name="T2" fmla="*/ 12 w 18"/>
                  <a:gd name="T3" fmla="*/ 7 h 20"/>
                  <a:gd name="T4" fmla="*/ 6 w 18"/>
                  <a:gd name="T5" fmla="*/ 1 h 20"/>
                  <a:gd name="T6" fmla="*/ 3 w 18"/>
                  <a:gd name="T7" fmla="*/ 0 h 20"/>
                  <a:gd name="T8" fmla="*/ 1 w 18"/>
                  <a:gd name="T9" fmla="*/ 0 h 20"/>
                  <a:gd name="T10" fmla="*/ 0 w 18"/>
                  <a:gd name="T11" fmla="*/ 0 h 20"/>
                  <a:gd name="T12" fmla="*/ 1 w 18"/>
                  <a:gd name="T13" fmla="*/ 1 h 20"/>
                  <a:gd name="T14" fmla="*/ 6 w 18"/>
                  <a:gd name="T15" fmla="*/ 5 h 20"/>
                  <a:gd name="T16" fmla="*/ 4 w 18"/>
                  <a:gd name="T17" fmla="*/ 6 h 20"/>
                  <a:gd name="T18" fmla="*/ 3 w 18"/>
                  <a:gd name="T19" fmla="*/ 8 h 20"/>
                  <a:gd name="T20" fmla="*/ 3 w 18"/>
                  <a:gd name="T21" fmla="*/ 12 h 20"/>
                  <a:gd name="T22" fmla="*/ 3 w 18"/>
                  <a:gd name="T23" fmla="*/ 12 h 20"/>
                  <a:gd name="T24" fmla="*/ 4 w 18"/>
                  <a:gd name="T25" fmla="*/ 13 h 20"/>
                  <a:gd name="T26" fmla="*/ 7 w 18"/>
                  <a:gd name="T27" fmla="*/ 14 h 20"/>
                  <a:gd name="T28" fmla="*/ 8 w 18"/>
                  <a:gd name="T29" fmla="*/ 14 h 20"/>
                  <a:gd name="T30" fmla="*/ 9 w 18"/>
                  <a:gd name="T31" fmla="*/ 14 h 20"/>
                  <a:gd name="T32" fmla="*/ 12 w 18"/>
                  <a:gd name="T33" fmla="*/ 15 h 20"/>
                  <a:gd name="T34" fmla="*/ 16 w 18"/>
                  <a:gd name="T3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" h="20">
                    <a:moveTo>
                      <a:pt x="18" y="14"/>
                    </a:moveTo>
                    <a:cubicBezTo>
                      <a:pt x="17" y="12"/>
                      <a:pt x="12" y="7"/>
                      <a:pt x="12" y="7"/>
                    </a:cubicBezTo>
                    <a:cubicBezTo>
                      <a:pt x="9" y="3"/>
                      <a:pt x="6" y="2"/>
                      <a:pt x="6" y="1"/>
                    </a:cubicBezTo>
                    <a:cubicBezTo>
                      <a:pt x="5" y="1"/>
                      <a:pt x="4" y="1"/>
                      <a:pt x="3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2"/>
                      <a:pt x="4" y="3"/>
                      <a:pt x="6" y="5"/>
                    </a:cubicBezTo>
                    <a:cubicBezTo>
                      <a:pt x="5" y="5"/>
                      <a:pt x="5" y="5"/>
                      <a:pt x="4" y="6"/>
                    </a:cubicBezTo>
                    <a:cubicBezTo>
                      <a:pt x="4" y="7"/>
                      <a:pt x="4" y="7"/>
                      <a:pt x="3" y="8"/>
                    </a:cubicBezTo>
                    <a:cubicBezTo>
                      <a:pt x="3" y="9"/>
                      <a:pt x="3" y="10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5" y="14"/>
                      <a:pt x="6" y="16"/>
                      <a:pt x="7" y="14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11" y="16"/>
                      <a:pt x="12" y="15"/>
                      <a:pt x="12" y="15"/>
                    </a:cubicBezTo>
                    <a:cubicBezTo>
                      <a:pt x="16" y="20"/>
                      <a:pt x="16" y="20"/>
                      <a:pt x="16" y="20"/>
                    </a:cubicBezTo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8" name="任意多边形: 形状 37"/>
              <p:cNvSpPr/>
              <p:nvPr/>
            </p:nvSpPr>
            <p:spPr bwMode="auto">
              <a:xfrm>
                <a:off x="7070725" y="3341688"/>
                <a:ext cx="573088" cy="331788"/>
              </a:xfrm>
              <a:custGeom>
                <a:avLst/>
                <a:gdLst>
                  <a:gd name="T0" fmla="*/ 128 w 128"/>
                  <a:gd name="T1" fmla="*/ 1 h 74"/>
                  <a:gd name="T2" fmla="*/ 90 w 128"/>
                  <a:gd name="T3" fmla="*/ 14 h 74"/>
                  <a:gd name="T4" fmla="*/ 54 w 128"/>
                  <a:gd name="T5" fmla="*/ 35 h 74"/>
                  <a:gd name="T6" fmla="*/ 3 w 128"/>
                  <a:gd name="T7" fmla="*/ 15 h 74"/>
                  <a:gd name="T8" fmla="*/ 0 w 128"/>
                  <a:gd name="T9" fmla="*/ 21 h 74"/>
                  <a:gd name="T10" fmla="*/ 61 w 128"/>
                  <a:gd name="T11" fmla="*/ 69 h 74"/>
                  <a:gd name="T12" fmla="*/ 114 w 128"/>
                  <a:gd name="T13" fmla="*/ 55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" h="74">
                    <a:moveTo>
                      <a:pt x="128" y="1"/>
                    </a:moveTo>
                    <a:cubicBezTo>
                      <a:pt x="128" y="1"/>
                      <a:pt x="109" y="0"/>
                      <a:pt x="90" y="14"/>
                    </a:cubicBezTo>
                    <a:cubicBezTo>
                      <a:pt x="75" y="25"/>
                      <a:pt x="63" y="35"/>
                      <a:pt x="54" y="35"/>
                    </a:cubicBezTo>
                    <a:cubicBezTo>
                      <a:pt x="46" y="35"/>
                      <a:pt x="3" y="15"/>
                      <a:pt x="3" y="15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23" y="64"/>
                      <a:pt x="61" y="69"/>
                    </a:cubicBezTo>
                    <a:cubicBezTo>
                      <a:pt x="92" y="74"/>
                      <a:pt x="114" y="55"/>
                      <a:pt x="114" y="55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9" name="任意多边形: 形状 38"/>
              <p:cNvSpPr/>
              <p:nvPr/>
            </p:nvSpPr>
            <p:spPr bwMode="auto">
              <a:xfrm>
                <a:off x="7767638" y="4857751"/>
                <a:ext cx="120650" cy="85725"/>
              </a:xfrm>
              <a:custGeom>
                <a:avLst/>
                <a:gdLst>
                  <a:gd name="T0" fmla="*/ 24 w 27"/>
                  <a:gd name="T1" fmla="*/ 7 h 19"/>
                  <a:gd name="T2" fmla="*/ 25 w 27"/>
                  <a:gd name="T3" fmla="*/ 15 h 19"/>
                  <a:gd name="T4" fmla="*/ 1 w 27"/>
                  <a:gd name="T5" fmla="*/ 16 h 19"/>
                  <a:gd name="T6" fmla="*/ 18 w 27"/>
                  <a:gd name="T7" fmla="*/ 7 h 19"/>
                  <a:gd name="T8" fmla="*/ 25 w 27"/>
                  <a:gd name="T9" fmla="*/ 0 h 19"/>
                  <a:gd name="T10" fmla="*/ 24 w 27"/>
                  <a:gd name="T11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19">
                    <a:moveTo>
                      <a:pt x="24" y="7"/>
                    </a:moveTo>
                    <a:cubicBezTo>
                      <a:pt x="24" y="7"/>
                      <a:pt x="27" y="14"/>
                      <a:pt x="25" y="15"/>
                    </a:cubicBezTo>
                    <a:cubicBezTo>
                      <a:pt x="24" y="17"/>
                      <a:pt x="1" y="19"/>
                      <a:pt x="1" y="16"/>
                    </a:cubicBezTo>
                    <a:cubicBezTo>
                      <a:pt x="0" y="14"/>
                      <a:pt x="18" y="7"/>
                      <a:pt x="18" y="7"/>
                    </a:cubicBezTo>
                    <a:cubicBezTo>
                      <a:pt x="25" y="0"/>
                      <a:pt x="25" y="0"/>
                      <a:pt x="25" y="0"/>
                    </a:cubicBezTo>
                    <a:lnTo>
                      <a:pt x="24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0" name="任意多边形: 形状 39"/>
              <p:cNvSpPr/>
              <p:nvPr/>
            </p:nvSpPr>
            <p:spPr bwMode="auto">
              <a:xfrm>
                <a:off x="7727950" y="4048126"/>
                <a:ext cx="174625" cy="850900"/>
              </a:xfrm>
              <a:custGeom>
                <a:avLst/>
                <a:gdLst>
                  <a:gd name="T0" fmla="*/ 0 w 39"/>
                  <a:gd name="T1" fmla="*/ 0 h 190"/>
                  <a:gd name="T2" fmla="*/ 4 w 39"/>
                  <a:gd name="T3" fmla="*/ 78 h 190"/>
                  <a:gd name="T4" fmla="*/ 27 w 39"/>
                  <a:gd name="T5" fmla="*/ 188 h 190"/>
                  <a:gd name="T6" fmla="*/ 33 w 39"/>
                  <a:gd name="T7" fmla="*/ 188 h 190"/>
                  <a:gd name="T8" fmla="*/ 39 w 39"/>
                  <a:gd name="T9" fmla="*/ 130 h 190"/>
                  <a:gd name="T10" fmla="*/ 33 w 39"/>
                  <a:gd name="T11" fmla="*/ 87 h 190"/>
                  <a:gd name="T12" fmla="*/ 38 w 39"/>
                  <a:gd name="T13" fmla="*/ 20 h 190"/>
                  <a:gd name="T14" fmla="*/ 0 w 39"/>
                  <a:gd name="T15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190">
                    <a:moveTo>
                      <a:pt x="0" y="0"/>
                    </a:moveTo>
                    <a:cubicBezTo>
                      <a:pt x="0" y="0"/>
                      <a:pt x="3" y="46"/>
                      <a:pt x="4" y="78"/>
                    </a:cubicBezTo>
                    <a:cubicBezTo>
                      <a:pt x="6" y="131"/>
                      <a:pt x="26" y="184"/>
                      <a:pt x="27" y="188"/>
                    </a:cubicBezTo>
                    <a:cubicBezTo>
                      <a:pt x="30" y="190"/>
                      <a:pt x="33" y="188"/>
                      <a:pt x="33" y="188"/>
                    </a:cubicBezTo>
                    <a:cubicBezTo>
                      <a:pt x="33" y="188"/>
                      <a:pt x="39" y="152"/>
                      <a:pt x="39" y="130"/>
                    </a:cubicBezTo>
                    <a:cubicBezTo>
                      <a:pt x="39" y="109"/>
                      <a:pt x="33" y="87"/>
                      <a:pt x="33" y="87"/>
                    </a:cubicBezTo>
                    <a:cubicBezTo>
                      <a:pt x="33" y="87"/>
                      <a:pt x="35" y="47"/>
                      <a:pt x="38" y="20"/>
                    </a:cubicBezTo>
                    <a:cubicBezTo>
                      <a:pt x="39" y="8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/>
              <p:cNvSpPr/>
              <p:nvPr/>
            </p:nvSpPr>
            <p:spPr bwMode="auto">
              <a:xfrm>
                <a:off x="7508875" y="4857751"/>
                <a:ext cx="120650" cy="85725"/>
              </a:xfrm>
              <a:custGeom>
                <a:avLst/>
                <a:gdLst>
                  <a:gd name="T0" fmla="*/ 24 w 27"/>
                  <a:gd name="T1" fmla="*/ 7 h 19"/>
                  <a:gd name="T2" fmla="*/ 25 w 27"/>
                  <a:gd name="T3" fmla="*/ 15 h 19"/>
                  <a:gd name="T4" fmla="*/ 0 w 27"/>
                  <a:gd name="T5" fmla="*/ 16 h 19"/>
                  <a:gd name="T6" fmla="*/ 18 w 27"/>
                  <a:gd name="T7" fmla="*/ 7 h 19"/>
                  <a:gd name="T8" fmla="*/ 25 w 27"/>
                  <a:gd name="T9" fmla="*/ 0 h 19"/>
                  <a:gd name="T10" fmla="*/ 24 w 27"/>
                  <a:gd name="T11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19">
                    <a:moveTo>
                      <a:pt x="24" y="7"/>
                    </a:moveTo>
                    <a:cubicBezTo>
                      <a:pt x="24" y="7"/>
                      <a:pt x="27" y="14"/>
                      <a:pt x="25" y="15"/>
                    </a:cubicBezTo>
                    <a:cubicBezTo>
                      <a:pt x="24" y="17"/>
                      <a:pt x="1" y="19"/>
                      <a:pt x="0" y="16"/>
                    </a:cubicBezTo>
                    <a:cubicBezTo>
                      <a:pt x="0" y="14"/>
                      <a:pt x="18" y="7"/>
                      <a:pt x="18" y="7"/>
                    </a:cubicBezTo>
                    <a:cubicBezTo>
                      <a:pt x="25" y="0"/>
                      <a:pt x="25" y="0"/>
                      <a:pt x="25" y="0"/>
                    </a:cubicBezTo>
                    <a:lnTo>
                      <a:pt x="24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/>
              <p:cNvSpPr/>
              <p:nvPr/>
            </p:nvSpPr>
            <p:spPr bwMode="auto">
              <a:xfrm>
                <a:off x="7491413" y="4048126"/>
                <a:ext cx="177800" cy="850900"/>
              </a:xfrm>
              <a:custGeom>
                <a:avLst/>
                <a:gdLst>
                  <a:gd name="T0" fmla="*/ 1 w 40"/>
                  <a:gd name="T1" fmla="*/ 0 h 190"/>
                  <a:gd name="T2" fmla="*/ 1 w 40"/>
                  <a:gd name="T3" fmla="*/ 78 h 190"/>
                  <a:gd name="T4" fmla="*/ 22 w 40"/>
                  <a:gd name="T5" fmla="*/ 188 h 190"/>
                  <a:gd name="T6" fmla="*/ 28 w 40"/>
                  <a:gd name="T7" fmla="*/ 188 h 190"/>
                  <a:gd name="T8" fmla="*/ 35 w 40"/>
                  <a:gd name="T9" fmla="*/ 130 h 190"/>
                  <a:gd name="T10" fmla="*/ 30 w 40"/>
                  <a:gd name="T11" fmla="*/ 87 h 190"/>
                  <a:gd name="T12" fmla="*/ 39 w 40"/>
                  <a:gd name="T13" fmla="*/ 20 h 190"/>
                  <a:gd name="T14" fmla="*/ 1 w 40"/>
                  <a:gd name="T15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0" h="190">
                    <a:moveTo>
                      <a:pt x="1" y="0"/>
                    </a:moveTo>
                    <a:cubicBezTo>
                      <a:pt x="1" y="0"/>
                      <a:pt x="0" y="46"/>
                      <a:pt x="1" y="78"/>
                    </a:cubicBezTo>
                    <a:cubicBezTo>
                      <a:pt x="3" y="131"/>
                      <a:pt x="21" y="184"/>
                      <a:pt x="22" y="188"/>
                    </a:cubicBezTo>
                    <a:cubicBezTo>
                      <a:pt x="25" y="190"/>
                      <a:pt x="28" y="188"/>
                      <a:pt x="28" y="188"/>
                    </a:cubicBezTo>
                    <a:cubicBezTo>
                      <a:pt x="28" y="188"/>
                      <a:pt x="35" y="152"/>
                      <a:pt x="35" y="130"/>
                    </a:cubicBezTo>
                    <a:cubicBezTo>
                      <a:pt x="35" y="109"/>
                      <a:pt x="30" y="87"/>
                      <a:pt x="30" y="87"/>
                    </a:cubicBezTo>
                    <a:cubicBezTo>
                      <a:pt x="30" y="87"/>
                      <a:pt x="36" y="47"/>
                      <a:pt x="39" y="20"/>
                    </a:cubicBezTo>
                    <a:cubicBezTo>
                      <a:pt x="40" y="8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/>
              <p:cNvSpPr/>
              <p:nvPr/>
            </p:nvSpPr>
            <p:spPr bwMode="auto">
              <a:xfrm>
                <a:off x="7454900" y="3806826"/>
                <a:ext cx="479425" cy="630238"/>
              </a:xfrm>
              <a:custGeom>
                <a:avLst/>
                <a:gdLst>
                  <a:gd name="T0" fmla="*/ 10 w 107"/>
                  <a:gd name="T1" fmla="*/ 23 h 141"/>
                  <a:gd name="T2" fmla="*/ 7 w 107"/>
                  <a:gd name="T3" fmla="*/ 127 h 141"/>
                  <a:gd name="T4" fmla="*/ 103 w 107"/>
                  <a:gd name="T5" fmla="*/ 126 h 141"/>
                  <a:gd name="T6" fmla="*/ 99 w 107"/>
                  <a:gd name="T7" fmla="*/ 29 h 141"/>
                  <a:gd name="T8" fmla="*/ 78 w 107"/>
                  <a:gd name="T9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41">
                    <a:moveTo>
                      <a:pt x="10" y="23"/>
                    </a:moveTo>
                    <a:cubicBezTo>
                      <a:pt x="10" y="23"/>
                      <a:pt x="0" y="74"/>
                      <a:pt x="7" y="127"/>
                    </a:cubicBezTo>
                    <a:cubicBezTo>
                      <a:pt x="56" y="141"/>
                      <a:pt x="103" y="126"/>
                      <a:pt x="103" y="126"/>
                    </a:cubicBezTo>
                    <a:cubicBezTo>
                      <a:pt x="103" y="126"/>
                      <a:pt x="107" y="52"/>
                      <a:pt x="99" y="29"/>
                    </a:cubicBezTo>
                    <a:cubicBezTo>
                      <a:pt x="92" y="4"/>
                      <a:pt x="78" y="0"/>
                      <a:pt x="78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/>
              <p:cNvSpPr/>
              <p:nvPr/>
            </p:nvSpPr>
            <p:spPr bwMode="auto">
              <a:xfrm>
                <a:off x="7826375" y="3905251"/>
                <a:ext cx="49213" cy="482600"/>
              </a:xfrm>
              <a:custGeom>
                <a:avLst/>
                <a:gdLst>
                  <a:gd name="T0" fmla="*/ 7 w 11"/>
                  <a:gd name="T1" fmla="*/ 108 h 108"/>
                  <a:gd name="T2" fmla="*/ 6 w 11"/>
                  <a:gd name="T3" fmla="*/ 107 h 108"/>
                  <a:gd name="T4" fmla="*/ 0 w 11"/>
                  <a:gd name="T5" fmla="*/ 1 h 108"/>
                  <a:gd name="T6" fmla="*/ 1 w 11"/>
                  <a:gd name="T7" fmla="*/ 0 h 108"/>
                  <a:gd name="T8" fmla="*/ 7 w 11"/>
                  <a:gd name="T9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08">
                    <a:moveTo>
                      <a:pt x="7" y="108"/>
                    </a:moveTo>
                    <a:cubicBezTo>
                      <a:pt x="6" y="107"/>
                      <a:pt x="6" y="107"/>
                      <a:pt x="6" y="107"/>
                    </a:cubicBezTo>
                    <a:cubicBezTo>
                      <a:pt x="10" y="46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1" y="46"/>
                      <a:pt x="7" y="108"/>
                    </a:cubicBezTo>
                    <a:close/>
                  </a:path>
                </a:pathLst>
              </a:custGeom>
              <a:solidFill>
                <a:srgbClr val="1235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/>
              <p:cNvSpPr/>
              <p:nvPr/>
            </p:nvSpPr>
            <p:spPr bwMode="auto">
              <a:xfrm>
                <a:off x="7486650" y="3336926"/>
                <a:ext cx="411163" cy="639763"/>
              </a:xfrm>
              <a:custGeom>
                <a:avLst/>
                <a:gdLst>
                  <a:gd name="T0" fmla="*/ 79 w 92"/>
                  <a:gd name="T1" fmla="*/ 25 h 143"/>
                  <a:gd name="T2" fmla="*/ 81 w 92"/>
                  <a:gd name="T3" fmla="*/ 82 h 143"/>
                  <a:gd name="T4" fmla="*/ 92 w 92"/>
                  <a:gd name="T5" fmla="*/ 134 h 143"/>
                  <a:gd name="T6" fmla="*/ 2 w 92"/>
                  <a:gd name="T7" fmla="*/ 134 h 143"/>
                  <a:gd name="T8" fmla="*/ 8 w 92"/>
                  <a:gd name="T9" fmla="*/ 103 h 143"/>
                  <a:gd name="T10" fmla="*/ 9 w 92"/>
                  <a:gd name="T11" fmla="*/ 79 h 143"/>
                  <a:gd name="T12" fmla="*/ 3 w 92"/>
                  <a:gd name="T13" fmla="*/ 45 h 143"/>
                  <a:gd name="T14" fmla="*/ 17 w 92"/>
                  <a:gd name="T15" fmla="*/ 20 h 143"/>
                  <a:gd name="T16" fmla="*/ 50 w 92"/>
                  <a:gd name="T17" fmla="*/ 1 h 143"/>
                  <a:gd name="T18" fmla="*/ 79 w 92"/>
                  <a:gd name="T19" fmla="*/ 25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143">
                    <a:moveTo>
                      <a:pt x="79" y="25"/>
                    </a:moveTo>
                    <a:cubicBezTo>
                      <a:pt x="86" y="44"/>
                      <a:pt x="81" y="76"/>
                      <a:pt x="81" y="82"/>
                    </a:cubicBezTo>
                    <a:cubicBezTo>
                      <a:pt x="81" y="98"/>
                      <a:pt x="91" y="114"/>
                      <a:pt x="92" y="134"/>
                    </a:cubicBezTo>
                    <a:cubicBezTo>
                      <a:pt x="89" y="138"/>
                      <a:pt x="11" y="143"/>
                      <a:pt x="2" y="134"/>
                    </a:cubicBezTo>
                    <a:cubicBezTo>
                      <a:pt x="3" y="123"/>
                      <a:pt x="6" y="117"/>
                      <a:pt x="8" y="103"/>
                    </a:cubicBezTo>
                    <a:cubicBezTo>
                      <a:pt x="9" y="98"/>
                      <a:pt x="9" y="90"/>
                      <a:pt x="9" y="79"/>
                    </a:cubicBezTo>
                    <a:cubicBezTo>
                      <a:pt x="6" y="64"/>
                      <a:pt x="0" y="57"/>
                      <a:pt x="3" y="45"/>
                    </a:cubicBezTo>
                    <a:cubicBezTo>
                      <a:pt x="4" y="36"/>
                      <a:pt x="13" y="26"/>
                      <a:pt x="17" y="20"/>
                    </a:cubicBezTo>
                    <a:cubicBezTo>
                      <a:pt x="24" y="7"/>
                      <a:pt x="16" y="0"/>
                      <a:pt x="50" y="1"/>
                    </a:cubicBezTo>
                    <a:cubicBezTo>
                      <a:pt x="66" y="1"/>
                      <a:pt x="71" y="6"/>
                      <a:pt x="79" y="2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/>
              <p:cNvSpPr/>
              <p:nvPr/>
            </p:nvSpPr>
            <p:spPr bwMode="auto">
              <a:xfrm>
                <a:off x="7491413" y="3427413"/>
                <a:ext cx="61913" cy="200025"/>
              </a:xfrm>
              <a:custGeom>
                <a:avLst/>
                <a:gdLst>
                  <a:gd name="T0" fmla="*/ 3 w 14"/>
                  <a:gd name="T1" fmla="*/ 45 h 45"/>
                  <a:gd name="T2" fmla="*/ 1 w 14"/>
                  <a:gd name="T3" fmla="*/ 25 h 45"/>
                  <a:gd name="T4" fmla="*/ 7 w 14"/>
                  <a:gd name="T5" fmla="*/ 12 h 45"/>
                  <a:gd name="T6" fmla="*/ 13 w 14"/>
                  <a:gd name="T7" fmla="*/ 0 h 45"/>
                  <a:gd name="T8" fmla="*/ 14 w 14"/>
                  <a:gd name="T9" fmla="*/ 0 h 45"/>
                  <a:gd name="T10" fmla="*/ 8 w 14"/>
                  <a:gd name="T11" fmla="*/ 12 h 45"/>
                  <a:gd name="T12" fmla="*/ 2 w 14"/>
                  <a:gd name="T13" fmla="*/ 25 h 45"/>
                  <a:gd name="T14" fmla="*/ 4 w 14"/>
                  <a:gd name="T15" fmla="*/ 44 h 45"/>
                  <a:gd name="T16" fmla="*/ 3 w 14"/>
                  <a:gd name="T1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45">
                    <a:moveTo>
                      <a:pt x="3" y="45"/>
                    </a:moveTo>
                    <a:cubicBezTo>
                      <a:pt x="1" y="36"/>
                      <a:pt x="0" y="32"/>
                      <a:pt x="1" y="25"/>
                    </a:cubicBezTo>
                    <a:cubicBezTo>
                      <a:pt x="2" y="20"/>
                      <a:pt x="4" y="16"/>
                      <a:pt x="7" y="12"/>
                    </a:cubicBezTo>
                    <a:cubicBezTo>
                      <a:pt x="9" y="8"/>
                      <a:pt x="11" y="5"/>
                      <a:pt x="13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2" y="5"/>
                      <a:pt x="10" y="9"/>
                      <a:pt x="8" y="12"/>
                    </a:cubicBezTo>
                    <a:cubicBezTo>
                      <a:pt x="5" y="17"/>
                      <a:pt x="3" y="20"/>
                      <a:pt x="2" y="25"/>
                    </a:cubicBezTo>
                    <a:cubicBezTo>
                      <a:pt x="1" y="32"/>
                      <a:pt x="2" y="36"/>
                      <a:pt x="4" y="44"/>
                    </a:cubicBezTo>
                    <a:lnTo>
                      <a:pt x="3" y="45"/>
                    </a:lnTo>
                    <a:close/>
                  </a:path>
                </a:pathLst>
              </a:custGeom>
              <a:solidFill>
                <a:srgbClr val="D159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/>
              <p:cNvSpPr/>
              <p:nvPr/>
            </p:nvSpPr>
            <p:spPr bwMode="auto">
              <a:xfrm>
                <a:off x="7575550" y="3127376"/>
                <a:ext cx="134938" cy="204788"/>
              </a:xfrm>
              <a:custGeom>
                <a:avLst/>
                <a:gdLst>
                  <a:gd name="T0" fmla="*/ 10 w 30"/>
                  <a:gd name="T1" fmla="*/ 12 h 46"/>
                  <a:gd name="T2" fmla="*/ 6 w 30"/>
                  <a:gd name="T3" fmla="*/ 41 h 46"/>
                  <a:gd name="T4" fmla="*/ 24 w 30"/>
                  <a:gd name="T5" fmla="*/ 35 h 46"/>
                  <a:gd name="T6" fmla="*/ 10 w 30"/>
                  <a:gd name="T7" fmla="*/ 1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46">
                    <a:moveTo>
                      <a:pt x="10" y="12"/>
                    </a:moveTo>
                    <a:cubicBezTo>
                      <a:pt x="10" y="12"/>
                      <a:pt x="0" y="37"/>
                      <a:pt x="6" y="41"/>
                    </a:cubicBezTo>
                    <a:cubicBezTo>
                      <a:pt x="12" y="46"/>
                      <a:pt x="22" y="40"/>
                      <a:pt x="24" y="35"/>
                    </a:cubicBezTo>
                    <a:cubicBezTo>
                      <a:pt x="28" y="29"/>
                      <a:pt x="30" y="0"/>
                      <a:pt x="10" y="12"/>
                    </a:cubicBezTo>
                    <a:close/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/>
              <p:cNvSpPr/>
              <p:nvPr/>
            </p:nvSpPr>
            <p:spPr bwMode="auto">
              <a:xfrm>
                <a:off x="7639050" y="3260726"/>
                <a:ext cx="61913" cy="117475"/>
              </a:xfrm>
              <a:custGeom>
                <a:avLst/>
                <a:gdLst>
                  <a:gd name="T0" fmla="*/ 1 w 14"/>
                  <a:gd name="T1" fmla="*/ 4 h 26"/>
                  <a:gd name="T2" fmla="*/ 0 w 14"/>
                  <a:gd name="T3" fmla="*/ 21 h 26"/>
                  <a:gd name="T4" fmla="*/ 3 w 14"/>
                  <a:gd name="T5" fmla="*/ 26 h 26"/>
                  <a:gd name="T6" fmla="*/ 14 w 14"/>
                  <a:gd name="T7" fmla="*/ 19 h 26"/>
                  <a:gd name="T8" fmla="*/ 11 w 14"/>
                  <a:gd name="T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4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1" y="26"/>
                      <a:pt x="3" y="26"/>
                    </a:cubicBezTo>
                    <a:cubicBezTo>
                      <a:pt x="5" y="26"/>
                      <a:pt x="14" y="19"/>
                      <a:pt x="14" y="19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/>
              <p:cNvSpPr/>
              <p:nvPr/>
            </p:nvSpPr>
            <p:spPr bwMode="auto">
              <a:xfrm>
                <a:off x="7646988" y="3328988"/>
                <a:ext cx="63500" cy="79375"/>
              </a:xfrm>
              <a:custGeom>
                <a:avLst/>
                <a:gdLst>
                  <a:gd name="T0" fmla="*/ 37 w 40"/>
                  <a:gd name="T1" fmla="*/ 0 h 50"/>
                  <a:gd name="T2" fmla="*/ 0 w 40"/>
                  <a:gd name="T3" fmla="*/ 28 h 50"/>
                  <a:gd name="T4" fmla="*/ 14 w 40"/>
                  <a:gd name="T5" fmla="*/ 50 h 50"/>
                  <a:gd name="T6" fmla="*/ 40 w 40"/>
                  <a:gd name="T7" fmla="*/ 8 h 50"/>
                  <a:gd name="T8" fmla="*/ 37 w 40"/>
                  <a:gd name="T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50">
                    <a:moveTo>
                      <a:pt x="37" y="0"/>
                    </a:moveTo>
                    <a:lnTo>
                      <a:pt x="0" y="28"/>
                    </a:lnTo>
                    <a:lnTo>
                      <a:pt x="14" y="50"/>
                    </a:lnTo>
                    <a:lnTo>
                      <a:pt x="40" y="8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/>
              <p:cNvSpPr/>
              <p:nvPr/>
            </p:nvSpPr>
            <p:spPr bwMode="auto">
              <a:xfrm>
                <a:off x="7620000" y="3336926"/>
                <a:ext cx="26988" cy="63500"/>
              </a:xfrm>
              <a:custGeom>
                <a:avLst/>
                <a:gdLst>
                  <a:gd name="T0" fmla="*/ 17 w 17"/>
                  <a:gd name="T1" fmla="*/ 23 h 40"/>
                  <a:gd name="T2" fmla="*/ 12 w 17"/>
                  <a:gd name="T3" fmla="*/ 0 h 40"/>
                  <a:gd name="T4" fmla="*/ 0 w 17"/>
                  <a:gd name="T5" fmla="*/ 6 h 40"/>
                  <a:gd name="T6" fmla="*/ 3 w 17"/>
                  <a:gd name="T7" fmla="*/ 40 h 40"/>
                  <a:gd name="T8" fmla="*/ 17 w 17"/>
                  <a:gd name="T9" fmla="*/ 2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40">
                    <a:moveTo>
                      <a:pt x="17" y="23"/>
                    </a:moveTo>
                    <a:lnTo>
                      <a:pt x="12" y="0"/>
                    </a:lnTo>
                    <a:lnTo>
                      <a:pt x="0" y="6"/>
                    </a:lnTo>
                    <a:lnTo>
                      <a:pt x="3" y="40"/>
                    </a:lnTo>
                    <a:lnTo>
                      <a:pt x="17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/>
              <p:cNvSpPr/>
              <p:nvPr/>
            </p:nvSpPr>
            <p:spPr bwMode="auto">
              <a:xfrm>
                <a:off x="7169150" y="3605213"/>
                <a:ext cx="361950" cy="260350"/>
              </a:xfrm>
              <a:custGeom>
                <a:avLst/>
                <a:gdLst>
                  <a:gd name="T0" fmla="*/ 70 w 81"/>
                  <a:gd name="T1" fmla="*/ 3 h 58"/>
                  <a:gd name="T2" fmla="*/ 81 w 81"/>
                  <a:gd name="T3" fmla="*/ 58 h 58"/>
                  <a:gd name="T4" fmla="*/ 12 w 81"/>
                  <a:gd name="T5" fmla="*/ 58 h 58"/>
                  <a:gd name="T6" fmla="*/ 1 w 81"/>
                  <a:gd name="T7" fmla="*/ 2 h 58"/>
                  <a:gd name="T8" fmla="*/ 2 w 81"/>
                  <a:gd name="T9" fmla="*/ 0 h 58"/>
                  <a:gd name="T10" fmla="*/ 67 w 81"/>
                  <a:gd name="T11" fmla="*/ 0 h 58"/>
                  <a:gd name="T12" fmla="*/ 70 w 81"/>
                  <a:gd name="T13" fmla="*/ 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58">
                    <a:moveTo>
                      <a:pt x="70" y="3"/>
                    </a:moveTo>
                    <a:cubicBezTo>
                      <a:pt x="81" y="58"/>
                      <a:pt x="81" y="58"/>
                      <a:pt x="81" y="58"/>
                    </a:cubicBezTo>
                    <a:cubicBezTo>
                      <a:pt x="12" y="58"/>
                      <a:pt x="12" y="58"/>
                      <a:pt x="12" y="58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9" y="0"/>
                      <a:pt x="70" y="2"/>
                      <a:pt x="70" y="3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/>
              <p:cNvSpPr/>
              <p:nvPr/>
            </p:nvSpPr>
            <p:spPr bwMode="auto">
              <a:xfrm>
                <a:off x="7442200" y="3833813"/>
                <a:ext cx="246063" cy="31750"/>
              </a:xfrm>
              <a:custGeom>
                <a:avLst/>
                <a:gdLst>
                  <a:gd name="T0" fmla="*/ 1 w 55"/>
                  <a:gd name="T1" fmla="*/ 7 h 7"/>
                  <a:gd name="T2" fmla="*/ 55 w 55"/>
                  <a:gd name="T3" fmla="*/ 7 h 7"/>
                  <a:gd name="T4" fmla="*/ 55 w 55"/>
                  <a:gd name="T5" fmla="*/ 4 h 7"/>
                  <a:gd name="T6" fmla="*/ 51 w 55"/>
                  <a:gd name="T7" fmla="*/ 0 h 7"/>
                  <a:gd name="T8" fmla="*/ 0 w 55"/>
                  <a:gd name="T9" fmla="*/ 0 h 7"/>
                  <a:gd name="T10" fmla="*/ 1 w 55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" h="7">
                    <a:moveTo>
                      <a:pt x="1" y="7"/>
                    </a:moveTo>
                    <a:cubicBezTo>
                      <a:pt x="55" y="7"/>
                      <a:pt x="55" y="7"/>
                      <a:pt x="55" y="7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54" y="2"/>
                      <a:pt x="53" y="0"/>
                      <a:pt x="51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7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/>
              <p:cNvSpPr/>
              <p:nvPr/>
            </p:nvSpPr>
            <p:spPr bwMode="auto">
              <a:xfrm>
                <a:off x="7321550" y="3708401"/>
                <a:ext cx="53975" cy="58738"/>
              </a:xfrm>
              <a:custGeom>
                <a:avLst/>
                <a:gdLst>
                  <a:gd name="T0" fmla="*/ 5 w 12"/>
                  <a:gd name="T1" fmla="*/ 0 h 13"/>
                  <a:gd name="T2" fmla="*/ 1 w 12"/>
                  <a:gd name="T3" fmla="*/ 6 h 13"/>
                  <a:gd name="T4" fmla="*/ 7 w 12"/>
                  <a:gd name="T5" fmla="*/ 13 h 13"/>
                  <a:gd name="T6" fmla="*/ 11 w 12"/>
                  <a:gd name="T7" fmla="*/ 6 h 13"/>
                  <a:gd name="T8" fmla="*/ 5 w 12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3">
                    <a:moveTo>
                      <a:pt x="5" y="0"/>
                    </a:moveTo>
                    <a:cubicBezTo>
                      <a:pt x="2" y="0"/>
                      <a:pt x="0" y="3"/>
                      <a:pt x="1" y="6"/>
                    </a:cubicBezTo>
                    <a:cubicBezTo>
                      <a:pt x="2" y="10"/>
                      <a:pt x="5" y="13"/>
                      <a:pt x="7" y="13"/>
                    </a:cubicBezTo>
                    <a:cubicBezTo>
                      <a:pt x="10" y="13"/>
                      <a:pt x="12" y="10"/>
                      <a:pt x="11" y="6"/>
                    </a:cubicBezTo>
                    <a:cubicBezTo>
                      <a:pt x="10" y="3"/>
                      <a:pt x="8" y="0"/>
                      <a:pt x="5" y="0"/>
                    </a:cubicBezTo>
                  </a:path>
                </a:pathLst>
              </a:custGeom>
              <a:solidFill>
                <a:srgbClr val="DAE2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/>
              <p:cNvSpPr/>
              <p:nvPr/>
            </p:nvSpPr>
            <p:spPr bwMode="auto">
              <a:xfrm>
                <a:off x="7464425" y="3833813"/>
                <a:ext cx="120650" cy="49213"/>
              </a:xfrm>
              <a:custGeom>
                <a:avLst/>
                <a:gdLst>
                  <a:gd name="T0" fmla="*/ 27 w 27"/>
                  <a:gd name="T1" fmla="*/ 0 h 11"/>
                  <a:gd name="T2" fmla="*/ 18 w 27"/>
                  <a:gd name="T3" fmla="*/ 3 h 11"/>
                  <a:gd name="T4" fmla="*/ 13 w 27"/>
                  <a:gd name="T5" fmla="*/ 2 h 11"/>
                  <a:gd name="T6" fmla="*/ 9 w 27"/>
                  <a:gd name="T7" fmla="*/ 2 h 11"/>
                  <a:gd name="T8" fmla="*/ 9 w 27"/>
                  <a:gd name="T9" fmla="*/ 2 h 11"/>
                  <a:gd name="T10" fmla="*/ 8 w 27"/>
                  <a:gd name="T11" fmla="*/ 2 h 11"/>
                  <a:gd name="T12" fmla="*/ 9 w 27"/>
                  <a:gd name="T13" fmla="*/ 2 h 11"/>
                  <a:gd name="T14" fmla="*/ 11 w 27"/>
                  <a:gd name="T15" fmla="*/ 4 h 11"/>
                  <a:gd name="T16" fmla="*/ 11 w 27"/>
                  <a:gd name="T17" fmla="*/ 5 h 11"/>
                  <a:gd name="T18" fmla="*/ 5 w 27"/>
                  <a:gd name="T19" fmla="*/ 5 h 11"/>
                  <a:gd name="T20" fmla="*/ 1 w 27"/>
                  <a:gd name="T21" fmla="*/ 5 h 11"/>
                  <a:gd name="T22" fmla="*/ 0 w 27"/>
                  <a:gd name="T23" fmla="*/ 6 h 11"/>
                  <a:gd name="T24" fmla="*/ 0 w 27"/>
                  <a:gd name="T25" fmla="*/ 6 h 11"/>
                  <a:gd name="T26" fmla="*/ 4 w 27"/>
                  <a:gd name="T27" fmla="*/ 9 h 11"/>
                  <a:gd name="T28" fmla="*/ 10 w 27"/>
                  <a:gd name="T29" fmla="*/ 11 h 11"/>
                  <a:gd name="T30" fmla="*/ 18 w 27"/>
                  <a:gd name="T31" fmla="*/ 10 h 11"/>
                  <a:gd name="T32" fmla="*/ 24 w 27"/>
                  <a:gd name="T33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11">
                    <a:moveTo>
                      <a:pt x="27" y="0"/>
                    </a:moveTo>
                    <a:cubicBezTo>
                      <a:pt x="27" y="0"/>
                      <a:pt x="20" y="3"/>
                      <a:pt x="18" y="3"/>
                    </a:cubicBezTo>
                    <a:cubicBezTo>
                      <a:pt x="16" y="3"/>
                      <a:pt x="14" y="2"/>
                      <a:pt x="13" y="2"/>
                    </a:cubicBezTo>
                    <a:cubicBezTo>
                      <a:pt x="12" y="2"/>
                      <a:pt x="10" y="2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3"/>
                      <a:pt x="10" y="3"/>
                      <a:pt x="11" y="4"/>
                    </a:cubicBezTo>
                    <a:cubicBezTo>
                      <a:pt x="11" y="4"/>
                      <a:pt x="12" y="4"/>
                      <a:pt x="11" y="5"/>
                    </a:cubicBezTo>
                    <a:cubicBezTo>
                      <a:pt x="9" y="5"/>
                      <a:pt x="7" y="5"/>
                      <a:pt x="5" y="5"/>
                    </a:cubicBezTo>
                    <a:cubicBezTo>
                      <a:pt x="4" y="5"/>
                      <a:pt x="2" y="5"/>
                      <a:pt x="1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8"/>
                      <a:pt x="2" y="8"/>
                      <a:pt x="4" y="9"/>
                    </a:cubicBezTo>
                    <a:cubicBezTo>
                      <a:pt x="6" y="10"/>
                      <a:pt x="8" y="11"/>
                      <a:pt x="10" y="11"/>
                    </a:cubicBezTo>
                    <a:cubicBezTo>
                      <a:pt x="12" y="11"/>
                      <a:pt x="15" y="11"/>
                      <a:pt x="18" y="10"/>
                    </a:cubicBezTo>
                    <a:cubicBezTo>
                      <a:pt x="19" y="10"/>
                      <a:pt x="24" y="9"/>
                      <a:pt x="24" y="9"/>
                    </a:cubicBezTo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/>
              <p:cNvSpPr/>
              <p:nvPr/>
            </p:nvSpPr>
            <p:spPr bwMode="auto">
              <a:xfrm>
                <a:off x="7548563" y="3341688"/>
                <a:ext cx="385763" cy="550863"/>
              </a:xfrm>
              <a:custGeom>
                <a:avLst/>
                <a:gdLst>
                  <a:gd name="T0" fmla="*/ 40 w 86"/>
                  <a:gd name="T1" fmla="*/ 36 h 123"/>
                  <a:gd name="T2" fmla="*/ 48 w 86"/>
                  <a:gd name="T3" fmla="*/ 89 h 123"/>
                  <a:gd name="T4" fmla="*/ 0 w 86"/>
                  <a:gd name="T5" fmla="*/ 113 h 123"/>
                  <a:gd name="T6" fmla="*/ 3 w 86"/>
                  <a:gd name="T7" fmla="*/ 121 h 123"/>
                  <a:gd name="T8" fmla="*/ 72 w 86"/>
                  <a:gd name="T9" fmla="*/ 107 h 123"/>
                  <a:gd name="T10" fmla="*/ 73 w 86"/>
                  <a:gd name="T11" fmla="*/ 26 h 123"/>
                  <a:gd name="T12" fmla="*/ 36 w 86"/>
                  <a:gd name="T1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" h="123">
                    <a:moveTo>
                      <a:pt x="40" y="36"/>
                    </a:moveTo>
                    <a:cubicBezTo>
                      <a:pt x="40" y="36"/>
                      <a:pt x="47" y="71"/>
                      <a:pt x="48" y="89"/>
                    </a:cubicBezTo>
                    <a:cubicBezTo>
                      <a:pt x="44" y="93"/>
                      <a:pt x="0" y="113"/>
                      <a:pt x="0" y="113"/>
                    </a:cubicBezTo>
                    <a:cubicBezTo>
                      <a:pt x="3" y="121"/>
                      <a:pt x="3" y="121"/>
                      <a:pt x="3" y="121"/>
                    </a:cubicBezTo>
                    <a:cubicBezTo>
                      <a:pt x="3" y="121"/>
                      <a:pt x="59" y="123"/>
                      <a:pt x="72" y="107"/>
                    </a:cubicBezTo>
                    <a:cubicBezTo>
                      <a:pt x="86" y="92"/>
                      <a:pt x="81" y="46"/>
                      <a:pt x="73" y="26"/>
                    </a:cubicBezTo>
                    <a:cubicBezTo>
                      <a:pt x="68" y="10"/>
                      <a:pt x="54" y="0"/>
                      <a:pt x="36" y="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/>
              <p:cNvSpPr/>
              <p:nvPr/>
            </p:nvSpPr>
            <p:spPr bwMode="auto">
              <a:xfrm>
                <a:off x="7562850" y="3821113"/>
                <a:ext cx="312738" cy="66675"/>
              </a:xfrm>
              <a:custGeom>
                <a:avLst/>
                <a:gdLst>
                  <a:gd name="T0" fmla="*/ 6 w 70"/>
                  <a:gd name="T1" fmla="*/ 14 h 15"/>
                  <a:gd name="T2" fmla="*/ 0 w 70"/>
                  <a:gd name="T3" fmla="*/ 14 h 15"/>
                  <a:gd name="T4" fmla="*/ 0 w 70"/>
                  <a:gd name="T5" fmla="*/ 13 h 15"/>
                  <a:gd name="T6" fmla="*/ 69 w 70"/>
                  <a:gd name="T7" fmla="*/ 0 h 15"/>
                  <a:gd name="T8" fmla="*/ 70 w 70"/>
                  <a:gd name="T9" fmla="*/ 0 h 15"/>
                  <a:gd name="T10" fmla="*/ 6 w 70"/>
                  <a:gd name="T11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15">
                    <a:moveTo>
                      <a:pt x="6" y="14"/>
                    </a:moveTo>
                    <a:cubicBezTo>
                      <a:pt x="2" y="14"/>
                      <a:pt x="0" y="14"/>
                      <a:pt x="0" y="14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56" y="15"/>
                      <a:pt x="69" y="0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59" y="13"/>
                      <a:pt x="20" y="14"/>
                      <a:pt x="6" y="14"/>
                    </a:cubicBezTo>
                    <a:close/>
                  </a:path>
                </a:pathLst>
              </a:custGeom>
              <a:solidFill>
                <a:srgbClr val="D159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/>
              <p:cNvSpPr/>
              <p:nvPr/>
            </p:nvSpPr>
            <p:spPr bwMode="auto">
              <a:xfrm>
                <a:off x="7548563" y="3502026"/>
                <a:ext cx="219075" cy="344488"/>
              </a:xfrm>
              <a:custGeom>
                <a:avLst/>
                <a:gdLst>
                  <a:gd name="T0" fmla="*/ 0 w 49"/>
                  <a:gd name="T1" fmla="*/ 77 h 77"/>
                  <a:gd name="T2" fmla="*/ 0 w 49"/>
                  <a:gd name="T3" fmla="*/ 76 h 77"/>
                  <a:gd name="T4" fmla="*/ 48 w 49"/>
                  <a:gd name="T5" fmla="*/ 53 h 77"/>
                  <a:gd name="T6" fmla="*/ 40 w 49"/>
                  <a:gd name="T7" fmla="*/ 0 h 77"/>
                  <a:gd name="T8" fmla="*/ 41 w 49"/>
                  <a:gd name="T9" fmla="*/ 0 h 77"/>
                  <a:gd name="T10" fmla="*/ 49 w 49"/>
                  <a:gd name="T11" fmla="*/ 53 h 77"/>
                  <a:gd name="T12" fmla="*/ 49 w 49"/>
                  <a:gd name="T13" fmla="*/ 53 h 77"/>
                  <a:gd name="T14" fmla="*/ 49 w 49"/>
                  <a:gd name="T15" fmla="*/ 53 h 77"/>
                  <a:gd name="T16" fmla="*/ 0 w 49"/>
                  <a:gd name="T17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77">
                    <a:moveTo>
                      <a:pt x="0" y="77"/>
                    </a:moveTo>
                    <a:cubicBezTo>
                      <a:pt x="0" y="76"/>
                      <a:pt x="0" y="76"/>
                      <a:pt x="0" y="76"/>
                    </a:cubicBezTo>
                    <a:cubicBezTo>
                      <a:pt x="15" y="70"/>
                      <a:pt x="44" y="56"/>
                      <a:pt x="48" y="53"/>
                    </a:cubicBezTo>
                    <a:cubicBezTo>
                      <a:pt x="46" y="35"/>
                      <a:pt x="40" y="0"/>
                      <a:pt x="40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0"/>
                      <a:pt x="47" y="35"/>
                      <a:pt x="49" y="53"/>
                    </a:cubicBezTo>
                    <a:cubicBezTo>
                      <a:pt x="49" y="53"/>
                      <a:pt x="49" y="53"/>
                      <a:pt x="49" y="53"/>
                    </a:cubicBezTo>
                    <a:cubicBezTo>
                      <a:pt x="49" y="53"/>
                      <a:pt x="49" y="53"/>
                      <a:pt x="49" y="53"/>
                    </a:cubicBezTo>
                    <a:cubicBezTo>
                      <a:pt x="45" y="58"/>
                      <a:pt x="2" y="76"/>
                      <a:pt x="0" y="77"/>
                    </a:cubicBezTo>
                    <a:close/>
                  </a:path>
                </a:pathLst>
              </a:custGeom>
              <a:solidFill>
                <a:srgbClr val="D159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/>
              <p:cNvSpPr/>
              <p:nvPr/>
            </p:nvSpPr>
            <p:spPr bwMode="auto">
              <a:xfrm>
                <a:off x="7602538" y="3140076"/>
                <a:ext cx="169863" cy="201613"/>
              </a:xfrm>
              <a:custGeom>
                <a:avLst/>
                <a:gdLst>
                  <a:gd name="T0" fmla="*/ 5 w 38"/>
                  <a:gd name="T1" fmla="*/ 5 h 45"/>
                  <a:gd name="T2" fmla="*/ 22 w 38"/>
                  <a:gd name="T3" fmla="*/ 2 h 45"/>
                  <a:gd name="T4" fmla="*/ 34 w 38"/>
                  <a:gd name="T5" fmla="*/ 19 h 45"/>
                  <a:gd name="T6" fmla="*/ 36 w 38"/>
                  <a:gd name="T7" fmla="*/ 29 h 45"/>
                  <a:gd name="T8" fmla="*/ 38 w 38"/>
                  <a:gd name="T9" fmla="*/ 39 h 45"/>
                  <a:gd name="T10" fmla="*/ 19 w 38"/>
                  <a:gd name="T11" fmla="*/ 44 h 45"/>
                  <a:gd name="T12" fmla="*/ 18 w 38"/>
                  <a:gd name="T13" fmla="*/ 26 h 45"/>
                  <a:gd name="T14" fmla="*/ 13 w 38"/>
                  <a:gd name="T15" fmla="*/ 22 h 45"/>
                  <a:gd name="T16" fmla="*/ 5 w 38"/>
                  <a:gd name="T17" fmla="*/ 12 h 45"/>
                  <a:gd name="T18" fmla="*/ 1 w 38"/>
                  <a:gd name="T19" fmla="*/ 18 h 45"/>
                  <a:gd name="T20" fmla="*/ 5 w 38"/>
                  <a:gd name="T21" fmla="*/ 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" h="45">
                    <a:moveTo>
                      <a:pt x="5" y="5"/>
                    </a:moveTo>
                    <a:cubicBezTo>
                      <a:pt x="10" y="1"/>
                      <a:pt x="18" y="0"/>
                      <a:pt x="22" y="2"/>
                    </a:cubicBezTo>
                    <a:cubicBezTo>
                      <a:pt x="28" y="5"/>
                      <a:pt x="32" y="10"/>
                      <a:pt x="34" y="19"/>
                    </a:cubicBezTo>
                    <a:cubicBezTo>
                      <a:pt x="35" y="22"/>
                      <a:pt x="36" y="25"/>
                      <a:pt x="36" y="29"/>
                    </a:cubicBezTo>
                    <a:cubicBezTo>
                      <a:pt x="37" y="32"/>
                      <a:pt x="37" y="36"/>
                      <a:pt x="38" y="39"/>
                    </a:cubicBezTo>
                    <a:cubicBezTo>
                      <a:pt x="34" y="42"/>
                      <a:pt x="23" y="45"/>
                      <a:pt x="19" y="44"/>
                    </a:cubicBezTo>
                    <a:cubicBezTo>
                      <a:pt x="19" y="41"/>
                      <a:pt x="19" y="28"/>
                      <a:pt x="18" y="26"/>
                    </a:cubicBezTo>
                    <a:cubicBezTo>
                      <a:pt x="17" y="24"/>
                      <a:pt x="15" y="23"/>
                      <a:pt x="13" y="22"/>
                    </a:cubicBezTo>
                    <a:cubicBezTo>
                      <a:pt x="10" y="21"/>
                      <a:pt x="6" y="16"/>
                      <a:pt x="5" y="12"/>
                    </a:cubicBezTo>
                    <a:cubicBezTo>
                      <a:pt x="3" y="13"/>
                      <a:pt x="2" y="16"/>
                      <a:pt x="1" y="18"/>
                    </a:cubicBezTo>
                    <a:cubicBezTo>
                      <a:pt x="0" y="10"/>
                      <a:pt x="4" y="6"/>
                      <a:pt x="5" y="5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/>
              <p:cNvSpPr/>
              <p:nvPr/>
            </p:nvSpPr>
            <p:spPr bwMode="auto">
              <a:xfrm>
                <a:off x="7666038" y="3257551"/>
                <a:ext cx="34925" cy="39688"/>
              </a:xfrm>
              <a:custGeom>
                <a:avLst/>
                <a:gdLst>
                  <a:gd name="T0" fmla="*/ 3 w 8"/>
                  <a:gd name="T1" fmla="*/ 2 h 9"/>
                  <a:gd name="T2" fmla="*/ 8 w 8"/>
                  <a:gd name="T3" fmla="*/ 4 h 9"/>
                  <a:gd name="T4" fmla="*/ 6 w 8"/>
                  <a:gd name="T5" fmla="*/ 8 h 9"/>
                  <a:gd name="T6" fmla="*/ 2 w 8"/>
                  <a:gd name="T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9">
                    <a:moveTo>
                      <a:pt x="3" y="2"/>
                    </a:moveTo>
                    <a:cubicBezTo>
                      <a:pt x="5" y="0"/>
                      <a:pt x="7" y="1"/>
                      <a:pt x="8" y="4"/>
                    </a:cubicBezTo>
                    <a:cubicBezTo>
                      <a:pt x="8" y="5"/>
                      <a:pt x="7" y="7"/>
                      <a:pt x="6" y="8"/>
                    </a:cubicBezTo>
                    <a:cubicBezTo>
                      <a:pt x="4" y="9"/>
                      <a:pt x="0" y="7"/>
                      <a:pt x="2" y="5"/>
                    </a:cubicBezTo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grpSp>
          <p:nvGrpSpPr>
            <p:cNvPr id="89" name="组合 88"/>
            <p:cNvGrpSpPr/>
            <p:nvPr/>
          </p:nvGrpSpPr>
          <p:grpSpPr>
            <a:xfrm>
              <a:off x="611025" y="2554287"/>
              <a:ext cx="10935851" cy="3272529"/>
              <a:chOff x="611025" y="2554287"/>
              <a:chExt cx="10935851" cy="3272529"/>
            </a:xfrm>
          </p:grpSpPr>
          <p:grpSp>
            <p:nvGrpSpPr>
              <p:cNvPr id="88" name="组合 87"/>
              <p:cNvGrpSpPr/>
              <p:nvPr/>
            </p:nvGrpSpPr>
            <p:grpSpPr>
              <a:xfrm>
                <a:off x="7716043" y="2554287"/>
                <a:ext cx="3830833" cy="1419225"/>
                <a:chOff x="7716043" y="2554287"/>
                <a:chExt cx="3830833" cy="1419225"/>
              </a:xfrm>
            </p:grpSpPr>
            <p:grpSp>
              <p:nvGrpSpPr>
                <p:cNvPr id="87" name="组合 86"/>
                <p:cNvGrpSpPr/>
                <p:nvPr/>
              </p:nvGrpSpPr>
              <p:grpSpPr>
                <a:xfrm>
                  <a:off x="7716043" y="2802289"/>
                  <a:ext cx="1097158" cy="681865"/>
                  <a:chOff x="7716043" y="2802289"/>
                  <a:chExt cx="1097158" cy="681865"/>
                </a:xfrm>
              </p:grpSpPr>
              <p:cxnSp>
                <p:nvCxnSpPr>
                  <p:cNvPr id="62" name="直接连接符 61"/>
                  <p:cNvCxnSpPr/>
                  <p:nvPr/>
                </p:nvCxnSpPr>
                <p:spPr>
                  <a:xfrm>
                    <a:off x="8508832" y="3142663"/>
                    <a:ext cx="304369" cy="0"/>
                  </a:xfrm>
                  <a:prstGeom prst="line">
                    <a:avLst/>
                  </a:prstGeom>
                  <a:ln>
                    <a:solidFill>
                      <a:schemeClr val="accent1"/>
                    </a:solidFill>
                    <a:tailEnd type="oval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63" name="矩形: 圆角 62"/>
                  <p:cNvSpPr/>
                  <p:nvPr/>
                </p:nvSpPr>
                <p:spPr>
                  <a:xfrm rot="18900000" flipV="1">
                    <a:off x="7716043" y="2802289"/>
                    <a:ext cx="681866" cy="681865"/>
                  </a:xfrm>
                  <a:prstGeom prst="roundRect">
                    <a:avLst>
                      <a:gd name="adj" fmla="val 6500"/>
                    </a:avLst>
                  </a:prstGeom>
                  <a:solidFill>
                    <a:schemeClr val="accent1"/>
                  </a:solidFill>
                  <a:ln w="12700" cap="rnd">
                    <a:noFill/>
                    <a:prstDash val="solid"/>
                    <a:round/>
                  </a:ln>
                  <a:effectLst>
                    <a:outerShdw blurRad="254000" dist="127000" algn="ctr" rotWithShape="0">
                      <a:schemeClr val="accent1">
                        <a:alpha val="32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normAutofit/>
                  </a:bodyPr>
                  <a:lstStyle/>
                  <a:p>
                    <a:pPr algn="ctr" defTabSz="914400"/>
                    <a:endParaRPr lang="zh-CN" altLang="en-US" sz="1600" b="1" dirty="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86" name="任意多边形: 形状 85"/>
                  <p:cNvSpPr/>
                  <p:nvPr/>
                </p:nvSpPr>
                <p:spPr bwMode="auto">
                  <a:xfrm>
                    <a:off x="7911629" y="3048800"/>
                    <a:ext cx="290691" cy="187728"/>
                  </a:xfrm>
                  <a:custGeom>
                    <a:avLst/>
                    <a:gdLst>
                      <a:gd name="T0" fmla="*/ 2933 w 2933"/>
                      <a:gd name="T1" fmla="*/ 101 h 1897"/>
                      <a:gd name="T2" fmla="*/ 2076 w 2933"/>
                      <a:gd name="T3" fmla="*/ 708 h 1897"/>
                      <a:gd name="T4" fmla="*/ 2076 w 2933"/>
                      <a:gd name="T5" fmla="*/ 0 h 1897"/>
                      <a:gd name="T6" fmla="*/ 0 w 2933"/>
                      <a:gd name="T7" fmla="*/ 0 h 1897"/>
                      <a:gd name="T8" fmla="*/ 0 w 2933"/>
                      <a:gd name="T9" fmla="*/ 1897 h 1897"/>
                      <a:gd name="T10" fmla="*/ 2076 w 2933"/>
                      <a:gd name="T11" fmla="*/ 1897 h 1897"/>
                      <a:gd name="T12" fmla="*/ 2076 w 2933"/>
                      <a:gd name="T13" fmla="*/ 1189 h 1897"/>
                      <a:gd name="T14" fmla="*/ 2933 w 2933"/>
                      <a:gd name="T15" fmla="*/ 1796 h 1897"/>
                      <a:gd name="T16" fmla="*/ 2933 w 2933"/>
                      <a:gd name="T17" fmla="*/ 101 h 1897"/>
                      <a:gd name="T18" fmla="*/ 1811 w 2933"/>
                      <a:gd name="T19" fmla="*/ 463 h 1897"/>
                      <a:gd name="T20" fmla="*/ 266 w 2933"/>
                      <a:gd name="T21" fmla="*/ 463 h 1897"/>
                      <a:gd name="T22" fmla="*/ 266 w 2933"/>
                      <a:gd name="T23" fmla="*/ 254 h 1897"/>
                      <a:gd name="T24" fmla="*/ 1811 w 2933"/>
                      <a:gd name="T25" fmla="*/ 254 h 1897"/>
                      <a:gd name="T26" fmla="*/ 1811 w 2933"/>
                      <a:gd name="T27" fmla="*/ 463 h 189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933" h="1897">
                        <a:moveTo>
                          <a:pt x="2933" y="101"/>
                        </a:moveTo>
                        <a:lnTo>
                          <a:pt x="2076" y="708"/>
                        </a:lnTo>
                        <a:lnTo>
                          <a:pt x="2076" y="0"/>
                        </a:lnTo>
                        <a:lnTo>
                          <a:pt x="0" y="0"/>
                        </a:lnTo>
                        <a:lnTo>
                          <a:pt x="0" y="1897"/>
                        </a:lnTo>
                        <a:lnTo>
                          <a:pt x="2076" y="1897"/>
                        </a:lnTo>
                        <a:lnTo>
                          <a:pt x="2076" y="1189"/>
                        </a:lnTo>
                        <a:lnTo>
                          <a:pt x="2933" y="1796"/>
                        </a:lnTo>
                        <a:lnTo>
                          <a:pt x="2933" y="101"/>
                        </a:lnTo>
                        <a:close/>
                        <a:moveTo>
                          <a:pt x="1811" y="463"/>
                        </a:moveTo>
                        <a:lnTo>
                          <a:pt x="266" y="463"/>
                        </a:lnTo>
                        <a:lnTo>
                          <a:pt x="266" y="254"/>
                        </a:lnTo>
                        <a:lnTo>
                          <a:pt x="1811" y="254"/>
                        </a:lnTo>
                        <a:lnTo>
                          <a:pt x="1811" y="46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endParaRPr lang="zh-CN" altLang="en-US" dirty="0">
                      <a:solidFill>
                        <a:srgbClr val="FFFFFF"/>
                      </a:solidFill>
                    </a:endParaRPr>
                  </a:p>
                </p:txBody>
              </p:sp>
            </p:grpSp>
            <p:sp>
              <p:nvSpPr>
                <p:cNvPr id="65" name="文本框 64"/>
                <p:cNvSpPr txBox="1"/>
                <p:nvPr/>
              </p:nvSpPr>
              <p:spPr>
                <a:xfrm>
                  <a:off x="8956869" y="3154530"/>
                  <a:ext cx="2590007" cy="818982"/>
                </a:xfrm>
                <a:prstGeom prst="rect">
                  <a:avLst/>
                </a:prstGeom>
              </p:spPr>
              <p:txBody>
                <a:bodyPr wrap="square" rtlCol="0" anchor="t" anchorCtr="0">
                  <a:normAutofit/>
                </a:bodyPr>
                <a:lstStyle>
                  <a:defPPr>
                    <a:defRPr lang="zh-CN"/>
                  </a:defPPr>
                  <a:lvl1pPr>
                    <a:lnSpc>
                      <a:spcPts val="1500"/>
                    </a:lnSpc>
                    <a:defRPr sz="1200"/>
                  </a:lvl1pPr>
                </a:lstStyle>
                <a:p>
                  <a:pPr>
                    <a:lnSpc>
                      <a:spcPct val="120000"/>
                    </a:lnSpc>
                  </a:pPr>
                  <a:r>
                    <a:rPr lang="zh-CN" altLang="nb-NO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组织脑暴</a:t>
                  </a:r>
                  <a:endParaRPr lang="zh-CN" altLang="nb-NO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  <p:sp>
              <p:nvSpPr>
                <p:cNvPr id="66" name="文本框 65"/>
                <p:cNvSpPr txBox="1"/>
                <p:nvPr/>
              </p:nvSpPr>
              <p:spPr>
                <a:xfrm>
                  <a:off x="8956868" y="2554287"/>
                  <a:ext cx="2590007" cy="589091"/>
                </a:xfrm>
                <a:prstGeom prst="rect">
                  <a:avLst/>
                </a:prstGeom>
                <a:noFill/>
              </p:spPr>
              <p:txBody>
                <a:bodyPr wrap="square" rtlCol="0" anchor="b" anchorCtr="0">
                  <a:normAutofit/>
                </a:bodyPr>
                <a:lstStyle/>
                <a:p>
                  <a:r>
                    <a:rPr lang="zh-CN" altLang="en-US" b="1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机构一线专家信息萃取</a:t>
                  </a:r>
                  <a:endParaRPr lang="zh-CN" altLang="en-US" b="1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</p:grpSp>
          <p:grpSp>
            <p:nvGrpSpPr>
              <p:cNvPr id="68" name="组合 67"/>
              <p:cNvGrpSpPr/>
              <p:nvPr/>
            </p:nvGrpSpPr>
            <p:grpSpPr>
              <a:xfrm flipH="1">
                <a:off x="611025" y="4407591"/>
                <a:ext cx="3970533" cy="1419225"/>
                <a:chOff x="4687105" y="1592610"/>
                <a:chExt cx="5856641" cy="2093392"/>
              </a:xfrm>
            </p:grpSpPr>
            <p:cxnSp>
              <p:nvCxnSpPr>
                <p:cNvPr id="69" name="直接连接符 68"/>
                <p:cNvCxnSpPr/>
                <p:nvPr/>
              </p:nvCxnSpPr>
              <p:spPr>
                <a:xfrm>
                  <a:off x="5856490" y="2460479"/>
                  <a:ext cx="448952" cy="0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矩形: 圆角 69"/>
                <p:cNvSpPr/>
                <p:nvPr/>
              </p:nvSpPr>
              <p:spPr>
                <a:xfrm rot="18900000" flipV="1">
                  <a:off x="4687105" y="1958419"/>
                  <a:ext cx="1005769" cy="1005769"/>
                </a:xfrm>
                <a:prstGeom prst="roundRect">
                  <a:avLst>
                    <a:gd name="adj" fmla="val 6500"/>
                  </a:avLst>
                </a:prstGeom>
                <a:solidFill>
                  <a:schemeClr val="accent2"/>
                </a:solidFill>
                <a:ln w="12700" cap="rnd">
                  <a:noFill/>
                  <a:prstDash val="solid"/>
                  <a:round/>
                </a:ln>
                <a:effectLst>
                  <a:outerShdw blurRad="254000" dist="127000" algn="ctr" rotWithShape="0">
                    <a:schemeClr val="accent2">
                      <a:alpha val="32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/>
                <a:p>
                  <a:pPr algn="ctr" defTabSz="914400"/>
                  <a:endParaRPr lang="zh-CN" altLang="en-US" sz="16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1" name="任意多边形: 形状 70"/>
                <p:cNvSpPr/>
                <p:nvPr/>
              </p:nvSpPr>
              <p:spPr bwMode="auto">
                <a:xfrm>
                  <a:off x="4994406" y="2246091"/>
                  <a:ext cx="391163" cy="428777"/>
                </a:xfrm>
                <a:custGeom>
                  <a:avLst/>
                  <a:gdLst>
                    <a:gd name="connsiteX0" fmla="*/ 248770 w 495300"/>
                    <a:gd name="connsiteY0" fmla="*/ 621 h 542925"/>
                    <a:gd name="connsiteX1" fmla="*/ 496420 w 495300"/>
                    <a:gd name="connsiteY1" fmla="*/ 248271 h 542925"/>
                    <a:gd name="connsiteX2" fmla="*/ 323827 w 495300"/>
                    <a:gd name="connsiteY2" fmla="*/ 484396 h 542925"/>
                    <a:gd name="connsiteX3" fmla="*/ 346973 w 495300"/>
                    <a:gd name="connsiteY3" fmla="*/ 524496 h 542925"/>
                    <a:gd name="connsiteX4" fmla="*/ 420220 w 495300"/>
                    <a:gd name="connsiteY4" fmla="*/ 524496 h 542925"/>
                    <a:gd name="connsiteX5" fmla="*/ 420220 w 495300"/>
                    <a:gd name="connsiteY5" fmla="*/ 543546 h 542925"/>
                    <a:gd name="connsiteX6" fmla="*/ 77320 w 495300"/>
                    <a:gd name="connsiteY6" fmla="*/ 543546 h 542925"/>
                    <a:gd name="connsiteX7" fmla="*/ 77320 w 495300"/>
                    <a:gd name="connsiteY7" fmla="*/ 524496 h 542925"/>
                    <a:gd name="connsiteX8" fmla="*/ 150567 w 495300"/>
                    <a:gd name="connsiteY8" fmla="*/ 524496 h 542925"/>
                    <a:gd name="connsiteX9" fmla="*/ 173713 w 495300"/>
                    <a:gd name="connsiteY9" fmla="*/ 484396 h 542925"/>
                    <a:gd name="connsiteX10" fmla="*/ 1120 w 495300"/>
                    <a:gd name="connsiteY10" fmla="*/ 248271 h 542925"/>
                    <a:gd name="connsiteX11" fmla="*/ 248770 w 495300"/>
                    <a:gd name="connsiteY11" fmla="*/ 621 h 542925"/>
                    <a:gd name="connsiteX12" fmla="*/ 192763 w 495300"/>
                    <a:gd name="connsiteY12" fmla="*/ 489539 h 542925"/>
                    <a:gd name="connsiteX13" fmla="*/ 172570 w 495300"/>
                    <a:gd name="connsiteY13" fmla="*/ 524496 h 542925"/>
                    <a:gd name="connsiteX14" fmla="*/ 324970 w 495300"/>
                    <a:gd name="connsiteY14" fmla="*/ 524496 h 542925"/>
                    <a:gd name="connsiteX15" fmla="*/ 304777 w 495300"/>
                    <a:gd name="connsiteY15" fmla="*/ 489539 h 542925"/>
                    <a:gd name="connsiteX16" fmla="*/ 248770 w 495300"/>
                    <a:gd name="connsiteY16" fmla="*/ 495921 h 542925"/>
                    <a:gd name="connsiteX17" fmla="*/ 192763 w 495300"/>
                    <a:gd name="connsiteY17" fmla="*/ 489539 h 542925"/>
                    <a:gd name="connsiteX18" fmla="*/ 248770 w 495300"/>
                    <a:gd name="connsiteY18" fmla="*/ 143496 h 542925"/>
                    <a:gd name="connsiteX19" fmla="*/ 143995 w 495300"/>
                    <a:gd name="connsiteY19" fmla="*/ 248271 h 542925"/>
                    <a:gd name="connsiteX20" fmla="*/ 248770 w 495300"/>
                    <a:gd name="connsiteY20" fmla="*/ 353046 h 542925"/>
                    <a:gd name="connsiteX21" fmla="*/ 353545 w 495300"/>
                    <a:gd name="connsiteY21" fmla="*/ 248271 h 542925"/>
                    <a:gd name="connsiteX22" fmla="*/ 248770 w 495300"/>
                    <a:gd name="connsiteY22" fmla="*/ 143496 h 542925"/>
                    <a:gd name="connsiteX23" fmla="*/ 367833 w 495300"/>
                    <a:gd name="connsiteY23" fmla="*/ 114921 h 542925"/>
                    <a:gd name="connsiteX24" fmla="*/ 353545 w 495300"/>
                    <a:gd name="connsiteY24" fmla="*/ 129209 h 542925"/>
                    <a:gd name="connsiteX25" fmla="*/ 367833 w 495300"/>
                    <a:gd name="connsiteY25" fmla="*/ 143496 h 542925"/>
                    <a:gd name="connsiteX26" fmla="*/ 382120 w 495300"/>
                    <a:gd name="connsiteY26" fmla="*/ 129209 h 542925"/>
                    <a:gd name="connsiteX27" fmla="*/ 367833 w 495300"/>
                    <a:gd name="connsiteY27" fmla="*/ 114921 h 542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95300" h="542925">
                      <a:moveTo>
                        <a:pt x="248770" y="621"/>
                      </a:moveTo>
                      <a:cubicBezTo>
                        <a:pt x="385549" y="621"/>
                        <a:pt x="496420" y="111492"/>
                        <a:pt x="496420" y="248271"/>
                      </a:cubicBezTo>
                      <a:cubicBezTo>
                        <a:pt x="496420" y="358856"/>
                        <a:pt x="423935" y="452582"/>
                        <a:pt x="323827" y="484396"/>
                      </a:cubicBezTo>
                      <a:lnTo>
                        <a:pt x="346973" y="524496"/>
                      </a:lnTo>
                      <a:lnTo>
                        <a:pt x="420220" y="524496"/>
                      </a:lnTo>
                      <a:lnTo>
                        <a:pt x="420220" y="543546"/>
                      </a:lnTo>
                      <a:lnTo>
                        <a:pt x="77320" y="543546"/>
                      </a:lnTo>
                      <a:lnTo>
                        <a:pt x="77320" y="524496"/>
                      </a:lnTo>
                      <a:lnTo>
                        <a:pt x="150567" y="524496"/>
                      </a:lnTo>
                      <a:lnTo>
                        <a:pt x="173713" y="484396"/>
                      </a:lnTo>
                      <a:cubicBezTo>
                        <a:pt x="73605" y="452582"/>
                        <a:pt x="1120" y="358856"/>
                        <a:pt x="1120" y="248271"/>
                      </a:cubicBezTo>
                      <a:cubicBezTo>
                        <a:pt x="1120" y="111492"/>
                        <a:pt x="111991" y="621"/>
                        <a:pt x="248770" y="621"/>
                      </a:cubicBezTo>
                      <a:close/>
                      <a:moveTo>
                        <a:pt x="192763" y="489539"/>
                      </a:moveTo>
                      <a:lnTo>
                        <a:pt x="172570" y="524496"/>
                      </a:lnTo>
                      <a:lnTo>
                        <a:pt x="324970" y="524496"/>
                      </a:lnTo>
                      <a:lnTo>
                        <a:pt x="304777" y="489539"/>
                      </a:lnTo>
                      <a:cubicBezTo>
                        <a:pt x="286775" y="493730"/>
                        <a:pt x="268010" y="495921"/>
                        <a:pt x="248770" y="495921"/>
                      </a:cubicBezTo>
                      <a:cubicBezTo>
                        <a:pt x="229530" y="495921"/>
                        <a:pt x="210765" y="493730"/>
                        <a:pt x="192763" y="489539"/>
                      </a:cubicBezTo>
                      <a:close/>
                      <a:moveTo>
                        <a:pt x="248770" y="143496"/>
                      </a:moveTo>
                      <a:cubicBezTo>
                        <a:pt x="190858" y="143496"/>
                        <a:pt x="143995" y="190359"/>
                        <a:pt x="143995" y="248271"/>
                      </a:cubicBezTo>
                      <a:cubicBezTo>
                        <a:pt x="143995" y="306183"/>
                        <a:pt x="190858" y="353046"/>
                        <a:pt x="248770" y="353046"/>
                      </a:cubicBezTo>
                      <a:cubicBezTo>
                        <a:pt x="306682" y="353046"/>
                        <a:pt x="353545" y="306183"/>
                        <a:pt x="353545" y="248271"/>
                      </a:cubicBezTo>
                      <a:cubicBezTo>
                        <a:pt x="353545" y="190359"/>
                        <a:pt x="306682" y="143496"/>
                        <a:pt x="248770" y="143496"/>
                      </a:cubicBezTo>
                      <a:close/>
                      <a:moveTo>
                        <a:pt x="367833" y="114921"/>
                      </a:moveTo>
                      <a:cubicBezTo>
                        <a:pt x="359927" y="114921"/>
                        <a:pt x="353545" y="121303"/>
                        <a:pt x="353545" y="129209"/>
                      </a:cubicBezTo>
                      <a:cubicBezTo>
                        <a:pt x="353545" y="137114"/>
                        <a:pt x="359927" y="143496"/>
                        <a:pt x="367833" y="143496"/>
                      </a:cubicBezTo>
                      <a:cubicBezTo>
                        <a:pt x="375738" y="143496"/>
                        <a:pt x="382120" y="137114"/>
                        <a:pt x="382120" y="129209"/>
                      </a:cubicBezTo>
                      <a:cubicBezTo>
                        <a:pt x="382120" y="121303"/>
                        <a:pt x="375738" y="114921"/>
                        <a:pt x="367833" y="11492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zh-CN" alt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2" name="文本框 71"/>
                <p:cNvSpPr txBox="1"/>
                <p:nvPr/>
              </p:nvSpPr>
              <p:spPr>
                <a:xfrm>
                  <a:off x="6517356" y="2477983"/>
                  <a:ext cx="4026390" cy="1208019"/>
                </a:xfrm>
                <a:prstGeom prst="rect">
                  <a:avLst/>
                </a:prstGeom>
              </p:spPr>
              <p:txBody>
                <a:bodyPr wrap="square" rtlCol="0" anchor="t" anchorCtr="0">
                  <a:normAutofit/>
                </a:bodyPr>
                <a:lstStyle>
                  <a:defPPr>
                    <a:defRPr lang="zh-CN"/>
                  </a:defPPr>
                  <a:lvl1pPr>
                    <a:lnSpc>
                      <a:spcPts val="1500"/>
                    </a:lnSpc>
                    <a:defRPr sz="1200"/>
                  </a:lvl1pPr>
                </a:lstStyle>
                <a:p>
                  <a:pPr marL="171450" indent="-171450" algn="r">
                    <a:lnSpc>
                      <a:spcPct val="120000"/>
                    </a:lnSpc>
                    <a:buFont typeface="Arial" panose="020B0604020202020204" pitchFamily="34" charset="0"/>
                    <a:buChar char="•"/>
                  </a:pPr>
                  <a:r>
                    <a:rPr lang="zh-CN" altLang="en-US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语音</a:t>
                  </a:r>
                  <a:endParaRPr lang="zh-CN" altLang="en-US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  <a:p>
                  <a:pPr marL="171450" indent="-171450" algn="r">
                    <a:lnSpc>
                      <a:spcPct val="120000"/>
                    </a:lnSpc>
                    <a:buFont typeface="Arial" panose="020B0604020202020204" pitchFamily="34" charset="0"/>
                    <a:buChar char="•"/>
                  </a:pPr>
                  <a:r>
                    <a:rPr lang="zh-CN" altLang="en-US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图像</a:t>
                  </a:r>
                  <a:endParaRPr lang="zh-CN" altLang="en-US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  <a:p>
                  <a:pPr marL="171450" indent="-171450" algn="r">
                    <a:lnSpc>
                      <a:spcPct val="120000"/>
                    </a:lnSpc>
                    <a:buFont typeface="Arial" panose="020B0604020202020204" pitchFamily="34" charset="0"/>
                    <a:buChar char="•"/>
                  </a:pPr>
                  <a:r>
                    <a:rPr lang="zh-CN" altLang="en-US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文本</a:t>
                  </a:r>
                  <a:endParaRPr lang="zh-CN" altLang="en-US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  <p:sp>
              <p:nvSpPr>
                <p:cNvPr id="73" name="文本框 72"/>
                <p:cNvSpPr txBox="1"/>
                <p:nvPr/>
              </p:nvSpPr>
              <p:spPr>
                <a:xfrm>
                  <a:off x="6517355" y="1592610"/>
                  <a:ext cx="4026390" cy="868924"/>
                </a:xfrm>
                <a:prstGeom prst="rect">
                  <a:avLst/>
                </a:prstGeom>
                <a:noFill/>
              </p:spPr>
              <p:txBody>
                <a:bodyPr wrap="square" rtlCol="0" anchor="b" anchorCtr="0">
                  <a:normAutofit/>
                </a:bodyPr>
                <a:lstStyle/>
                <a:p>
                  <a:pPr algn="r"/>
                  <a:r>
                    <a:rPr lang="zh-CN" altLang="en-US" b="1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非结构化数据</a:t>
                  </a:r>
                  <a:endParaRPr lang="zh-CN" altLang="en-US" b="1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</p:grpSp>
        </p:grp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SpPr txBox="1"/>
          <p:nvPr>
            <p:custDataLst>
              <p:tags r:id="rId1"/>
            </p:custDataLst>
          </p:nvPr>
        </p:nvSpPr>
        <p:spPr>
          <a:xfrm>
            <a:off x="3824523" y="1777629"/>
            <a:ext cx="3849931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/>
              <a:t>猜一下</a:t>
            </a:r>
            <a:endParaRPr lang="zh-CN" altLang="en-US" sz="3200" dirty="0"/>
          </a:p>
        </p:txBody>
      </p: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/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/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/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/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/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/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/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/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/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/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/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/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/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/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/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/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/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/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/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/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/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/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/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/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/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/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/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/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/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/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/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/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/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/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/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/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/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/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/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/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/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/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/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/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/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/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/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/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/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/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/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/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/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/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/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/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/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/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/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/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/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/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/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/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56260" y="3006725"/>
            <a:ext cx="11079480" cy="53213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8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寿险几千万的客户，每个月监管投诉通报件的数量级是多少？</a:t>
            </a:r>
            <a:endParaRPr lang="zh-CN" altLang="en-US" sz="18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889125" y="3994150"/>
            <a:ext cx="1198245" cy="40640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A</a:t>
            </a:r>
            <a:r>
              <a:rPr lang="zh-CN" altLang="en-US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：</a:t>
            </a:r>
            <a:r>
              <a:rPr lang="en-US" altLang="zh-CN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100</a:t>
            </a:r>
            <a:endParaRPr lang="en-US" altLang="zh-CN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3891915" y="3994150"/>
            <a:ext cx="1198245" cy="40640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B</a:t>
            </a:r>
            <a:r>
              <a:rPr lang="zh-CN" altLang="en-US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：</a:t>
            </a:r>
            <a:r>
              <a:rPr lang="en-US" altLang="zh-CN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1000</a:t>
            </a:r>
            <a:endParaRPr lang="en-US" altLang="zh-CN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153785" y="3994150"/>
            <a:ext cx="1762760" cy="53086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C</a:t>
            </a:r>
            <a:r>
              <a:rPr lang="zh-CN" altLang="en-US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：</a:t>
            </a:r>
            <a:r>
              <a:rPr lang="en-US" altLang="zh-CN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10</a:t>
            </a:r>
            <a:r>
              <a:rPr lang="zh-CN" altLang="en-US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，</a:t>
            </a:r>
            <a:r>
              <a:rPr lang="en-US" altLang="zh-CN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000</a:t>
            </a:r>
            <a:endParaRPr lang="en-US" altLang="zh-CN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8329295" y="3994150"/>
            <a:ext cx="1715770" cy="53086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D</a:t>
            </a:r>
            <a:r>
              <a:rPr lang="zh-CN" altLang="en-US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：</a:t>
            </a:r>
            <a:r>
              <a:rPr lang="en-US" altLang="zh-CN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100</a:t>
            </a:r>
            <a:r>
              <a:rPr lang="zh-CN" altLang="en-US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，</a:t>
            </a:r>
            <a:r>
              <a:rPr lang="en-US" altLang="zh-CN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000</a:t>
            </a:r>
            <a:endParaRPr lang="en-US" altLang="zh-CN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75" name="文本框 74"/>
          <p:cNvSpPr txBox="1"/>
          <p:nvPr/>
        </p:nvSpPr>
        <p:spPr>
          <a:xfrm>
            <a:off x="556260" y="4836795"/>
            <a:ext cx="11079480" cy="53213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通报件的比例</a:t>
            </a:r>
            <a:r>
              <a:rPr lang="en-US" altLang="zh-CN"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100/</a:t>
            </a:r>
            <a:r>
              <a:rPr lang="zh-CN" altLang="en-US"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几千万</a:t>
            </a:r>
            <a:r>
              <a:rPr lang="en-US" altLang="zh-CN"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=</a:t>
            </a:r>
            <a:r>
              <a:rPr lang="zh-CN" altLang="en-US"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不到</a:t>
            </a:r>
            <a:r>
              <a:rPr lang="zh-CN" altLang="en-US" sz="1800" b="1" dirty="0" smtClean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万分之一</a:t>
            </a:r>
            <a:endParaRPr lang="zh-CN" altLang="en-US" sz="1800" b="1" dirty="0" smtClean="0">
              <a:solidFill>
                <a:srgbClr val="F05A23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/>
      <p:bldP spid="75" grpId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群策群力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机构一线专家信息萃取</a:t>
            </a:r>
            <a:endParaRPr 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05854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组织机构一线专家头脑风暴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995045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50" name="任意多边形: 形状 49"/>
          <p:cNvSpPr/>
          <p:nvPr/>
        </p:nvSpPr>
        <p:spPr>
          <a:xfrm>
            <a:off x="1012190" y="1398270"/>
            <a:ext cx="10856595" cy="2537460"/>
          </a:xfrm>
          <a:custGeom>
            <a:avLst/>
            <a:gdLst>
              <a:gd name="connsiteX0" fmla="*/ 496 w 11498735"/>
              <a:gd name="connsiteY0" fmla="*/ 272 h 2688161"/>
              <a:gd name="connsiteX1" fmla="*/ 10216015 w 11498735"/>
              <a:gd name="connsiteY1" fmla="*/ 272 h 2688161"/>
              <a:gd name="connsiteX2" fmla="*/ 11499232 w 11498735"/>
              <a:gd name="connsiteY2" fmla="*/ 1283362 h 2688161"/>
              <a:gd name="connsiteX3" fmla="*/ 10216015 w 11498735"/>
              <a:gd name="connsiteY3" fmla="*/ 2566578 h 2688161"/>
              <a:gd name="connsiteX4" fmla="*/ 3224388 w 11498735"/>
              <a:gd name="connsiteY4" fmla="*/ 2566578 h 2688161"/>
              <a:gd name="connsiteX5" fmla="*/ 3224388 w 11498735"/>
              <a:gd name="connsiteY5" fmla="*/ 2688433 h 2688161"/>
              <a:gd name="connsiteX6" fmla="*/ 2615747 w 11498735"/>
              <a:gd name="connsiteY6" fmla="*/ 2335422 h 2688161"/>
              <a:gd name="connsiteX7" fmla="*/ 3224388 w 11498735"/>
              <a:gd name="connsiteY7" fmla="*/ 1982410 h 2688161"/>
              <a:gd name="connsiteX8" fmla="*/ 3224388 w 11498735"/>
              <a:gd name="connsiteY8" fmla="*/ 2160945 h 2688161"/>
              <a:gd name="connsiteX9" fmla="*/ 10216015 w 11498735"/>
              <a:gd name="connsiteY9" fmla="*/ 2160945 h 2688161"/>
              <a:gd name="connsiteX10" fmla="*/ 11094105 w 11498735"/>
              <a:gd name="connsiteY10" fmla="*/ 1282854 h 2688161"/>
              <a:gd name="connsiteX11" fmla="*/ 10216015 w 11498735"/>
              <a:gd name="connsiteY11" fmla="*/ 404764 h 2688161"/>
              <a:gd name="connsiteX12" fmla="*/ 496 w 11498735"/>
              <a:gd name="connsiteY12" fmla="*/ 404764 h 2688161"/>
              <a:gd name="connsiteX13" fmla="*/ 496 w 11498735"/>
              <a:gd name="connsiteY13" fmla="*/ 272 h 2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498735" h="2688161">
                <a:moveTo>
                  <a:pt x="496" y="272"/>
                </a:moveTo>
                <a:lnTo>
                  <a:pt x="10216015" y="272"/>
                </a:lnTo>
                <a:cubicBezTo>
                  <a:pt x="10924345" y="1046"/>
                  <a:pt x="11498395" y="575031"/>
                  <a:pt x="11499232" y="1283362"/>
                </a:cubicBezTo>
                <a:cubicBezTo>
                  <a:pt x="11498395" y="1991718"/>
                  <a:pt x="10924371" y="2565740"/>
                  <a:pt x="10216015" y="2566578"/>
                </a:cubicBezTo>
                <a:lnTo>
                  <a:pt x="3224388" y="2566578"/>
                </a:lnTo>
                <a:lnTo>
                  <a:pt x="3224388" y="2688433"/>
                </a:lnTo>
                <a:lnTo>
                  <a:pt x="2615747" y="2335422"/>
                </a:lnTo>
                <a:lnTo>
                  <a:pt x="3224388" y="1982410"/>
                </a:lnTo>
                <a:lnTo>
                  <a:pt x="3224388" y="2160945"/>
                </a:lnTo>
                <a:lnTo>
                  <a:pt x="10216015" y="2160945"/>
                </a:lnTo>
                <a:cubicBezTo>
                  <a:pt x="10700772" y="2160450"/>
                  <a:pt x="11093611" y="1767611"/>
                  <a:pt x="11094105" y="1282854"/>
                </a:cubicBezTo>
                <a:cubicBezTo>
                  <a:pt x="11093611" y="798098"/>
                  <a:pt x="10700772" y="405259"/>
                  <a:pt x="10216015" y="404764"/>
                </a:cubicBezTo>
                <a:lnTo>
                  <a:pt x="496" y="404764"/>
                </a:lnTo>
                <a:lnTo>
                  <a:pt x="496" y="272"/>
                </a:lnTo>
                <a:close/>
              </a:path>
            </a:pathLst>
          </a:cu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72" name="组合 71"/>
          <p:cNvGrpSpPr/>
          <p:nvPr/>
        </p:nvGrpSpPr>
        <p:grpSpPr>
          <a:xfrm rot="0">
            <a:off x="1183005" y="2001520"/>
            <a:ext cx="1859280" cy="1073785"/>
            <a:chOff x="791568" y="2833979"/>
            <a:chExt cx="1968727" cy="1137178"/>
          </a:xfrm>
        </p:grpSpPr>
        <p:sp>
          <p:nvSpPr>
            <p:cNvPr id="62" name="文本框 61"/>
            <p:cNvSpPr txBox="1"/>
            <p:nvPr/>
          </p:nvSpPr>
          <p:spPr>
            <a:xfrm>
              <a:off x="801604" y="2833979"/>
              <a:ext cx="1958691" cy="3248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latin typeface="+mn-ea"/>
                </a:rPr>
                <a:t>明确问题和目标</a:t>
              </a:r>
              <a:endParaRPr lang="zh-CN" altLang="en-US" sz="1400" b="1" dirty="0">
                <a:latin typeface="+mn-ea"/>
              </a:endParaRPr>
            </a:p>
          </p:txBody>
        </p:sp>
        <p:sp>
          <p:nvSpPr>
            <p:cNvPr id="63" name="文本框 62"/>
            <p:cNvSpPr txBox="1"/>
            <p:nvPr/>
          </p:nvSpPr>
          <p:spPr>
            <a:xfrm>
              <a:off x="791568" y="3203175"/>
              <a:ext cx="1958853" cy="767982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no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明确讨论的问题或目标，‌确保所有参与者对讨论的主题有清晰的理解</a:t>
              </a:r>
              <a:endParaRPr 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75" name="矩形: 圆角 74"/>
          <p:cNvSpPr/>
          <p:nvPr/>
        </p:nvSpPr>
        <p:spPr>
          <a:xfrm>
            <a:off x="1833880" y="1620520"/>
            <a:ext cx="285115" cy="2844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1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33" name="组合 32"/>
          <p:cNvGrpSpPr/>
          <p:nvPr/>
        </p:nvGrpSpPr>
        <p:grpSpPr>
          <a:xfrm rot="0">
            <a:off x="3613785" y="2001520"/>
            <a:ext cx="1849755" cy="1160230"/>
            <a:chOff x="1064070" y="2833979"/>
            <a:chExt cx="1958691" cy="1228878"/>
          </a:xfrm>
        </p:grpSpPr>
        <p:sp>
          <p:nvSpPr>
            <p:cNvPr id="36" name="文本框 35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组建团队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37" name="文本框 36"/>
            <p:cNvSpPr txBox="1"/>
            <p:nvPr/>
          </p:nvSpPr>
          <p:spPr>
            <a:xfrm>
              <a:off x="1064070" y="3203311"/>
              <a:ext cx="1958691" cy="859546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选择典型机构，组建</a:t>
              </a:r>
              <a:r>
                <a:rPr lang="en-US" altLang="zh-CN" sz="1200" dirty="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10</a:t>
              </a:r>
              <a:r>
                <a: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人左右专岗团队，尽可能专业背景多样化</a:t>
              </a:r>
              <a:endParaRPr lang="zh-CN" altLang="en-US" sz="1200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35" name="矩形: 圆角 34"/>
          <p:cNvSpPr/>
          <p:nvPr/>
        </p:nvSpPr>
        <p:spPr>
          <a:xfrm>
            <a:off x="4283075" y="1620520"/>
            <a:ext cx="285115" cy="284480"/>
          </a:xfrm>
          <a:prstGeom prst="roundRect">
            <a:avLst>
              <a:gd name="adj" fmla="val 50000"/>
            </a:avLst>
          </a:prstGeom>
          <a:solidFill>
            <a:srgbClr val="77849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2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39" name="组合 38"/>
          <p:cNvGrpSpPr/>
          <p:nvPr/>
        </p:nvGrpSpPr>
        <p:grpSpPr>
          <a:xfrm rot="0">
            <a:off x="6062980" y="2001520"/>
            <a:ext cx="1849755" cy="1160230"/>
            <a:chOff x="1064070" y="2833979"/>
            <a:chExt cx="1958691" cy="1228878"/>
          </a:xfrm>
        </p:grpSpPr>
        <p:sp>
          <p:nvSpPr>
            <p:cNvPr id="41" name="文本框 40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热身活动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1064070" y="3203311"/>
              <a:ext cx="1958691" cy="859546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如简单的讨论或交流，‌以帮助成员放松并进入状态</a:t>
              </a:r>
              <a:endParaRPr 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40" name="矩形: 圆角 39"/>
          <p:cNvSpPr/>
          <p:nvPr/>
        </p:nvSpPr>
        <p:spPr>
          <a:xfrm>
            <a:off x="6732270" y="1620520"/>
            <a:ext cx="285115" cy="2844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3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44" name="组合 43"/>
          <p:cNvGrpSpPr/>
          <p:nvPr/>
        </p:nvGrpSpPr>
        <p:grpSpPr>
          <a:xfrm rot="0">
            <a:off x="8512175" y="2001520"/>
            <a:ext cx="1849755" cy="920835"/>
            <a:chOff x="1064070" y="2833979"/>
            <a:chExt cx="1958691" cy="975319"/>
          </a:xfrm>
        </p:grpSpPr>
        <p:sp>
          <p:nvSpPr>
            <p:cNvPr id="46" name="文本框 45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发表意见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47" name="文本框 46"/>
            <p:cNvSpPr txBox="1"/>
            <p:nvPr/>
          </p:nvSpPr>
          <p:spPr>
            <a:xfrm>
              <a:off x="1064070" y="3203311"/>
              <a:ext cx="1958691" cy="605987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zh-CN" altLang="en-GB" sz="12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每个成员可发表意见，保持所有想法可见性</a:t>
              </a:r>
              <a:endParaRPr lang="zh-CN" altLang="en-GB" sz="1200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</p:grpSp>
      <p:sp>
        <p:nvSpPr>
          <p:cNvPr id="45" name="矩形: 圆角 44"/>
          <p:cNvSpPr/>
          <p:nvPr/>
        </p:nvSpPr>
        <p:spPr>
          <a:xfrm>
            <a:off x="9181465" y="1620520"/>
            <a:ext cx="285115" cy="284480"/>
          </a:xfrm>
          <a:prstGeom prst="roundRect">
            <a:avLst>
              <a:gd name="adj" fmla="val 50000"/>
            </a:avLst>
          </a:prstGeom>
          <a:solidFill>
            <a:srgbClr val="77849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4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52" name="组合 51"/>
          <p:cNvGrpSpPr/>
          <p:nvPr/>
        </p:nvGrpSpPr>
        <p:grpSpPr>
          <a:xfrm rot="0">
            <a:off x="3699510" y="4076065"/>
            <a:ext cx="1849755" cy="1160230"/>
            <a:chOff x="1064070" y="2833979"/>
            <a:chExt cx="1958691" cy="1228878"/>
          </a:xfrm>
        </p:grpSpPr>
        <p:sp>
          <p:nvSpPr>
            <p:cNvPr id="54" name="文本框 53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评价和筛选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55" name="文本框 54"/>
            <p:cNvSpPr txBox="1"/>
            <p:nvPr/>
          </p:nvSpPr>
          <p:spPr>
            <a:xfrm>
              <a:off x="1064070" y="3203311"/>
              <a:ext cx="1958691" cy="859546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可以对提出的想法进行鉴别和评价，‌选择可行的解决方案</a:t>
              </a:r>
              <a:r>
                <a:rPr lang="zh-CN" alt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再讨论</a:t>
              </a:r>
              <a:endParaRPr lang="zh-CN" alt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53" name="矩形: 圆角 52"/>
          <p:cNvSpPr/>
          <p:nvPr/>
        </p:nvSpPr>
        <p:spPr>
          <a:xfrm>
            <a:off x="4283075" y="3695065"/>
            <a:ext cx="285115" cy="2844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7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57" name="组合 56"/>
          <p:cNvGrpSpPr/>
          <p:nvPr/>
        </p:nvGrpSpPr>
        <p:grpSpPr>
          <a:xfrm rot="0">
            <a:off x="6148705" y="4076065"/>
            <a:ext cx="1849755" cy="1400260"/>
            <a:chOff x="1064070" y="2833979"/>
            <a:chExt cx="1958691" cy="1483110"/>
          </a:xfrm>
        </p:grpSpPr>
        <p:sp>
          <p:nvSpPr>
            <p:cNvPr id="59" name="文本框 58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结束头脑风暴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60" name="文本框 59"/>
            <p:cNvSpPr txBox="1"/>
            <p:nvPr/>
          </p:nvSpPr>
          <p:spPr>
            <a:xfrm>
              <a:off x="1064070" y="3203311"/>
              <a:ext cx="1958691" cy="1113778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当没有新的意见产生时，‌可以结束头脑风暴，‌并对之前的想法进行解释和确认</a:t>
              </a:r>
              <a:endParaRPr 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58" name="矩形: 圆角 57"/>
          <p:cNvSpPr/>
          <p:nvPr/>
        </p:nvSpPr>
        <p:spPr>
          <a:xfrm>
            <a:off x="6732270" y="3695065"/>
            <a:ext cx="285115" cy="284480"/>
          </a:xfrm>
          <a:prstGeom prst="roundRect">
            <a:avLst>
              <a:gd name="adj" fmla="val 50000"/>
            </a:avLst>
          </a:prstGeom>
          <a:solidFill>
            <a:srgbClr val="77849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6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65" name="组合 64"/>
          <p:cNvGrpSpPr/>
          <p:nvPr/>
        </p:nvGrpSpPr>
        <p:grpSpPr>
          <a:xfrm rot="0">
            <a:off x="8597900" y="4076065"/>
            <a:ext cx="1849755" cy="1400260"/>
            <a:chOff x="1064070" y="2833979"/>
            <a:chExt cx="1958691" cy="1483110"/>
          </a:xfrm>
        </p:grpSpPr>
        <p:sp>
          <p:nvSpPr>
            <p:cNvPr id="67" name="文本框 66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激发更多观点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68" name="文本框 67"/>
            <p:cNvSpPr txBox="1"/>
            <p:nvPr/>
          </p:nvSpPr>
          <p:spPr>
            <a:xfrm>
              <a:off x="1064070" y="3203311"/>
              <a:ext cx="1958691" cy="1113778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当团队成员没有新想法时，‌主持人可以通过提问或引导来激发更多的观点</a:t>
              </a:r>
              <a:endParaRPr 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66" name="矩形: 圆角 65"/>
          <p:cNvSpPr/>
          <p:nvPr/>
        </p:nvSpPr>
        <p:spPr>
          <a:xfrm>
            <a:off x="9181465" y="3695065"/>
            <a:ext cx="285115" cy="2844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5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938530" y="540448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注意事项</a:t>
            </a:r>
            <a:endParaRPr lang="zh-CN" altLang="en-US" sz="1800" dirty="0" smtClean="0"/>
          </a:p>
        </p:txBody>
      </p:sp>
      <p:grpSp>
        <p:nvGrpSpPr>
          <p:cNvPr id="16" name="组合 15"/>
          <p:cNvGrpSpPr/>
          <p:nvPr/>
        </p:nvGrpSpPr>
        <p:grpSpPr>
          <a:xfrm>
            <a:off x="450215" y="5302885"/>
            <a:ext cx="389255" cy="427990"/>
            <a:chOff x="450391" y="1977754"/>
            <a:chExt cx="465233" cy="511985"/>
          </a:xfrm>
        </p:grpSpPr>
        <p:sp>
          <p:nvSpPr>
            <p:cNvPr id="19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5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6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7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8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9" name="文本框 28"/>
          <p:cNvSpPr txBox="1"/>
          <p:nvPr/>
        </p:nvSpPr>
        <p:spPr>
          <a:xfrm>
            <a:off x="1206500" y="5767705"/>
            <a:ext cx="8976360" cy="99568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285750" indent="-179705" fontAlgn="auto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延迟判断：过程中不做评价和判断</a:t>
            </a:r>
            <a:endParaRPr lang="zh-CN" altLang="en-US" sz="1400" dirty="0" smtClean="0"/>
          </a:p>
          <a:p>
            <a:pPr marL="285750" indent="-179705" fontAlgn="auto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鼓励多样性：不限制思维的边界</a:t>
            </a:r>
            <a:endParaRPr lang="zh-CN" altLang="en-US" sz="1400" dirty="0" smtClean="0"/>
          </a:p>
          <a:p>
            <a:pPr marL="285750" indent="-179705" fontAlgn="auto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数量产生质量：想法尽可能多</a:t>
            </a:r>
            <a:endParaRPr lang="zh-CN" altLang="en-US" sz="1400" dirty="0" smtClean="0"/>
          </a:p>
          <a:p>
            <a:pPr marL="285750" indent="-179705" fontAlgn="auto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保持积极氛围：主持人引导团队保持积极、开发的态度，鼓励创新想法</a:t>
            </a:r>
            <a:endParaRPr lang="zh-CN" altLang="en-US" sz="1400" dirty="0" smtClean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群策群力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机构一线专家信息萃取</a:t>
            </a:r>
            <a:endParaRPr 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示例</a:t>
            </a:r>
            <a:r>
              <a:rPr lang="en-US" altLang="zh-CN" sz="1800" dirty="0" smtClean="0"/>
              <a:t>-</a:t>
            </a:r>
            <a:r>
              <a:rPr lang="zh-CN" altLang="en-US" sz="1800" dirty="0" smtClean="0"/>
              <a:t>劝留模型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6" name="矩形 5"/>
          <p:cNvSpPr/>
          <p:nvPr/>
        </p:nvSpPr>
        <p:spPr>
          <a:xfrm flipH="1">
            <a:off x="1066165" y="1804035"/>
            <a:ext cx="3331210" cy="4768215"/>
          </a:xfrm>
          <a:prstGeom prst="rect">
            <a:avLst/>
          </a:prstGeom>
          <a:noFill/>
          <a:ln w="12700" cap="flat" cmpd="sng" algn="ctr">
            <a:gradFill flip="none" rotWithShape="1">
              <a:gsLst>
                <a:gs pos="79967">
                  <a:srgbClr val="FF6600"/>
                </a:gs>
                <a:gs pos="28000">
                  <a:srgbClr val="FF6600"/>
                </a:gs>
                <a:gs pos="0">
                  <a:srgbClr val="FF6600">
                    <a:alpha val="0"/>
                  </a:srgbClr>
                </a:gs>
                <a:gs pos="100000">
                  <a:srgbClr val="FF6600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93266" tIns="46632" rIns="93266" bIns="46632" rtlCol="0"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3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8" name="剪去对角的矩形 7"/>
          <p:cNvSpPr/>
          <p:nvPr/>
        </p:nvSpPr>
        <p:spPr>
          <a:xfrm>
            <a:off x="1478915" y="1700530"/>
            <a:ext cx="2523490" cy="362585"/>
          </a:xfrm>
          <a:prstGeom prst="snip2DiagRect">
            <a:avLst>
              <a:gd name="adj1" fmla="val 0"/>
              <a:gd name="adj2" fmla="val 13556"/>
            </a:avLst>
          </a:prstGeom>
          <a:solidFill>
            <a:srgbClr val="FF5805"/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3276" tIns="46638" rIns="93276" bIns="46638" rtlCol="0" anchor="ctr"/>
          <a:lstStyle/>
          <a:p>
            <a:pPr marL="0" marR="0" lvl="0" indent="0" algn="ctr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  <a:cs typeface="Arial" panose="020B0604020202020204" pitchFamily="34" charset="0"/>
              </a:rPr>
              <a:t>专家脑暴风险场景</a:t>
            </a:r>
            <a:endParaRPr kumimoji="1" lang="zh-CN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163" name="object 8"/>
          <p:cNvSpPr txBox="1"/>
          <p:nvPr/>
        </p:nvSpPr>
        <p:spPr>
          <a:xfrm>
            <a:off x="1438910" y="2173605"/>
            <a:ext cx="2585085" cy="1140460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2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收入不稳定客户</a:t>
            </a:r>
            <a:endParaRPr kumimoji="0" lang="zh-CN" altLang="en-U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69" name="object 8"/>
          <p:cNvSpPr txBox="1"/>
          <p:nvPr/>
        </p:nvSpPr>
        <p:spPr>
          <a:xfrm>
            <a:off x="1438910" y="3620135"/>
            <a:ext cx="2585085" cy="712470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2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客户保险意识较强</a:t>
            </a:r>
            <a:endParaRPr kumimoji="0" lang="zh-CN" altLang="en-U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81" name="object 8"/>
          <p:cNvSpPr txBox="1"/>
          <p:nvPr/>
        </p:nvSpPr>
        <p:spPr>
          <a:xfrm>
            <a:off x="1438910" y="4629150"/>
            <a:ext cx="2585085" cy="711835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2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出单业务员品质优</a:t>
            </a:r>
            <a:endParaRPr kumimoji="0" lang="zh-CN" altLang="en-U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214" name="object 8"/>
          <p:cNvSpPr txBox="1"/>
          <p:nvPr/>
        </p:nvSpPr>
        <p:spPr>
          <a:xfrm>
            <a:off x="1438910" y="5718810"/>
            <a:ext cx="2585085" cy="667385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2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b="0" kern="0" smtClean="0">
                <a:solidFill>
                  <a:schemeClr val="tx1"/>
                </a:solidFill>
                <a:latin typeface="华文楷体" panose="02010600040101010101" pitchFamily="2" charset="-122"/>
                <a:sym typeface="Arial" panose="020B0604020202020204" pitchFamily="34" charset="0"/>
              </a:rPr>
              <a:t>……</a:t>
            </a:r>
            <a:endParaRPr kumimoji="0" lang="en-US" altLang="zh-CN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01" name="矩形 100"/>
          <p:cNvSpPr/>
          <p:nvPr/>
        </p:nvSpPr>
        <p:spPr>
          <a:xfrm flipH="1">
            <a:off x="6120130" y="1800860"/>
            <a:ext cx="5137785" cy="4770755"/>
          </a:xfrm>
          <a:prstGeom prst="rect">
            <a:avLst/>
          </a:prstGeom>
          <a:noFill/>
          <a:ln w="12700" cap="flat" cmpd="sng" algn="ctr">
            <a:gradFill flip="none" rotWithShape="1">
              <a:gsLst>
                <a:gs pos="79967">
                  <a:srgbClr val="FF6600"/>
                </a:gs>
                <a:gs pos="28000">
                  <a:srgbClr val="FF6600"/>
                </a:gs>
                <a:gs pos="0">
                  <a:srgbClr val="FF6600">
                    <a:alpha val="0"/>
                  </a:srgbClr>
                </a:gs>
                <a:gs pos="100000">
                  <a:srgbClr val="FF6600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93266" tIns="46632" rIns="93266" bIns="46632" rtlCol="0"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3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103" name="剪去对角的矩形 102"/>
          <p:cNvSpPr/>
          <p:nvPr/>
        </p:nvSpPr>
        <p:spPr>
          <a:xfrm>
            <a:off x="7311390" y="1700530"/>
            <a:ext cx="2523600" cy="362585"/>
          </a:xfrm>
          <a:prstGeom prst="snip2DiagRect">
            <a:avLst>
              <a:gd name="adj1" fmla="val 0"/>
              <a:gd name="adj2" fmla="val 13556"/>
            </a:avLst>
          </a:prstGeom>
          <a:solidFill>
            <a:srgbClr val="FF5805"/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3276" tIns="46638" rIns="93276" bIns="46638" rtlCol="0" anchor="ctr"/>
          <a:lstStyle/>
          <a:p>
            <a:pPr marL="0" marR="0" lvl="0" indent="0" algn="ctr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  <a:cs typeface="Arial" panose="020B0604020202020204" pitchFamily="34" charset="0"/>
              </a:rPr>
              <a:t>衍生标签</a:t>
            </a:r>
            <a:endParaRPr kumimoji="1" lang="zh-CN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9" name="object 8"/>
          <p:cNvSpPr txBox="1"/>
          <p:nvPr/>
        </p:nvSpPr>
        <p:spPr>
          <a:xfrm>
            <a:off x="6292215" y="2173605"/>
            <a:ext cx="4734560" cy="1140460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2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altLang="en-U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0" name="object 8"/>
          <p:cNvSpPr txBox="1"/>
          <p:nvPr/>
        </p:nvSpPr>
        <p:spPr>
          <a:xfrm>
            <a:off x="6292215" y="3620135"/>
            <a:ext cx="4735195" cy="711835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2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1" name="object 8"/>
          <p:cNvSpPr txBox="1"/>
          <p:nvPr/>
        </p:nvSpPr>
        <p:spPr>
          <a:xfrm>
            <a:off x="6292215" y="4629150"/>
            <a:ext cx="4735195" cy="711835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2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2" name="object 8"/>
          <p:cNvSpPr txBox="1"/>
          <p:nvPr/>
        </p:nvSpPr>
        <p:spPr>
          <a:xfrm>
            <a:off x="6292215" y="5674360"/>
            <a:ext cx="4735195" cy="711835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2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altLang="zh-CN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3" name="等腰三角形 12"/>
          <p:cNvSpPr/>
          <p:nvPr/>
        </p:nvSpPr>
        <p:spPr>
          <a:xfrm rot="5400000">
            <a:off x="3314065" y="3728720"/>
            <a:ext cx="3888740" cy="914400"/>
          </a:xfrm>
          <a:prstGeom prst="triangle">
            <a:avLst/>
          </a:prstGeom>
          <a:solidFill>
            <a:schemeClr val="bg1">
              <a:lumMod val="9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6564630" y="2190115"/>
            <a:ext cx="4158615" cy="11328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近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1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3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历史是否有多次试算退保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近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1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3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历史是否有保单贷款记录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近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1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3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历史是否有停失效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近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1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3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历史是否有部分领取记录</a:t>
            </a:r>
            <a:endParaRPr lang="zh-CN" altLang="en-US" sz="1400" b="1" kern="0" noProof="0" dirty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564630" y="3615055"/>
            <a:ext cx="4158615" cy="72707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客户名下历史保单个数</a:t>
            </a:r>
            <a:endParaRPr kumimoji="0" lang="zh-CN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客户名下有效保单个数</a:t>
            </a:r>
            <a:endParaRPr lang="zh-CN" altLang="en-US" sz="1400" b="1" kern="0" noProof="0" dirty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564630" y="4629150"/>
            <a:ext cx="4158615" cy="72707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签单业务员近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1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3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历史</a:t>
            </a:r>
            <a:r>
              <a:rPr 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被投诉次数</a:t>
            </a:r>
            <a:endParaRPr kumimoji="0" lang="zh-CN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签单业务员是否为钻石业务员</a:t>
            </a:r>
            <a:endParaRPr lang="zh-CN" altLang="en-US" sz="1400" b="1" kern="0" noProof="0" dirty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6564630" y="5680710"/>
            <a:ext cx="4158615" cy="68008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......</a:t>
            </a:r>
            <a:endParaRPr lang="zh-CN" altLang="en-US" sz="1400" b="1" kern="0" noProof="0" dirty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掘金文本：解锁非结构化数据</a:t>
            </a:r>
            <a:endParaRPr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非结构化数据挖掘示例</a:t>
            </a:r>
            <a:endParaRPr lang="en-US" altLang="zh-CN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pic>
        <p:nvPicPr>
          <p:cNvPr id="14" name="图片 1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618990" y="2218690"/>
            <a:ext cx="2752725" cy="466725"/>
          </a:xfrm>
          <a:prstGeom prst="rect">
            <a:avLst/>
          </a:prstGeom>
        </p:spPr>
      </p:pic>
      <p:sp>
        <p:nvSpPr>
          <p:cNvPr id="16" name="等腰三角形 15"/>
          <p:cNvSpPr/>
          <p:nvPr/>
        </p:nvSpPr>
        <p:spPr>
          <a:xfrm rot="10800000">
            <a:off x="3279140" y="2987675"/>
            <a:ext cx="950595" cy="167005"/>
          </a:xfrm>
          <a:prstGeom prst="triangle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60000"/>
                </a:schemeClr>
              </a:gs>
              <a:gs pos="23000">
                <a:srgbClr val="FF66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9" name="文本框 18"/>
          <p:cNvSpPr txBox="1"/>
          <p:nvPr/>
        </p:nvSpPr>
        <p:spPr>
          <a:xfrm>
            <a:off x="4469130" y="3361055"/>
            <a:ext cx="3923665" cy="58928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你们这什么烂公司，骗我钱，我要退保，你们公司欺骗我，我要到监管部门投诉</a:t>
            </a:r>
            <a:r>
              <a:rPr lang="en-US" altLang="zh-CN" sz="140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...</a:t>
            </a:r>
            <a:endParaRPr lang="en-US" altLang="zh-CN" sz="140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20" name="等腰三角形 19"/>
          <p:cNvSpPr/>
          <p:nvPr/>
        </p:nvSpPr>
        <p:spPr>
          <a:xfrm rot="10800000">
            <a:off x="3279140" y="4138930"/>
            <a:ext cx="950595" cy="167005"/>
          </a:xfrm>
          <a:prstGeom prst="triangle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60000"/>
                </a:schemeClr>
              </a:gs>
              <a:gs pos="23000">
                <a:srgbClr val="FF66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1" name="文本框 20"/>
          <p:cNvSpPr txBox="1"/>
          <p:nvPr/>
        </p:nvSpPr>
        <p:spPr>
          <a:xfrm>
            <a:off x="4469130" y="4474210"/>
            <a:ext cx="3052445" cy="72199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altLang="en-US" sz="1400" smtClean="0">
                <a:latin typeface="华文楷体" panose="02010600040101010101" pitchFamily="2" charset="-122"/>
                <a:ea typeface="华文楷体" panose="02010600040101010101" pitchFamily="2" charset="-122"/>
                <a:cs typeface="微软雅黑" panose="020B0503020204020204" charset="-122"/>
              </a:rPr>
              <a:t>客户情绪：负面</a:t>
            </a:r>
            <a:endParaRPr lang="zh-CN" altLang="en-US" sz="1400" smtClean="0">
              <a:latin typeface="华文楷体" panose="02010600040101010101" pitchFamily="2" charset="-122"/>
              <a:ea typeface="华文楷体" panose="02010600040101010101" pitchFamily="2" charset="-122"/>
              <a:cs typeface="微软雅黑" panose="020B0503020204020204" charset="-122"/>
            </a:endParaRPr>
          </a:p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altLang="en-US" sz="1400" smtClean="0">
                <a:latin typeface="华文楷体" panose="02010600040101010101" pitchFamily="2" charset="-122"/>
                <a:ea typeface="华文楷体" panose="02010600040101010101" pitchFamily="2" charset="-122"/>
                <a:cs typeface="微软雅黑" panose="020B0503020204020204" charset="-122"/>
              </a:rPr>
              <a:t>客户是否反馈要退保：是</a:t>
            </a:r>
            <a:endParaRPr lang="zh-CN" altLang="en-US" sz="1400" smtClean="0">
              <a:latin typeface="华文楷体" panose="02010600040101010101" pitchFamily="2" charset="-122"/>
              <a:ea typeface="华文楷体" panose="02010600040101010101" pitchFamily="2" charset="-122"/>
              <a:cs typeface="微软雅黑" panose="020B0503020204020204" charset="-122"/>
            </a:endParaRPr>
          </a:p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altLang="en-US" sz="1400" smtClean="0">
                <a:latin typeface="华文楷体" panose="02010600040101010101" pitchFamily="2" charset="-122"/>
                <a:ea typeface="华文楷体" panose="02010600040101010101" pitchFamily="2" charset="-122"/>
                <a:cs typeface="微软雅黑" panose="020B0503020204020204" charset="-122"/>
              </a:rPr>
              <a:t>客户是否反馈要投诉：是</a:t>
            </a:r>
            <a:endParaRPr lang="zh-CN" altLang="en-US" sz="1400" smtClean="0">
              <a:latin typeface="华文楷体" panose="02010600040101010101" pitchFamily="2" charset="-122"/>
              <a:ea typeface="华文楷体" panose="02010600040101010101" pitchFamily="2" charset="-122"/>
              <a:cs typeface="微软雅黑" panose="020B050302020402020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2964815" y="2084070"/>
            <a:ext cx="1504315" cy="748800"/>
          </a:xfrm>
          <a:prstGeom prst="rect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语音接入</a:t>
            </a:r>
            <a:endParaRPr kumimoji="0" lang="zh-CN" alt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2964815" y="3279275"/>
            <a:ext cx="1504315" cy="748665"/>
          </a:xfrm>
          <a:prstGeom prst="rect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语音转文本</a:t>
            </a:r>
            <a:endParaRPr kumimoji="0" lang="zh-CN" alt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2964815" y="4474345"/>
            <a:ext cx="1504315" cy="749935"/>
          </a:xfrm>
          <a:prstGeom prst="rect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文本转特征</a:t>
            </a:r>
            <a:endParaRPr kumimoji="0" lang="zh-CN" alt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2961005" y="2077085"/>
            <a:ext cx="6028690" cy="3162935"/>
          </a:xfrm>
          <a:prstGeom prst="rect">
            <a:avLst/>
          </a:prstGeom>
          <a:noFill/>
          <a:ln w="0">
            <a:solidFill>
              <a:schemeClr val="bg1">
                <a:lumMod val="9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选标签：高效筛选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&amp;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提升性能</a:t>
            </a:r>
            <a:endParaRPr lang="en-US" altLang="zh-CN" sz="2800" b="1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通过自动化方式筛选</a:t>
            </a:r>
            <a:endParaRPr lang="en-US" altLang="zh-CN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36" name="圆: 空心 35"/>
          <p:cNvSpPr/>
          <p:nvPr/>
        </p:nvSpPr>
        <p:spPr>
          <a:xfrm>
            <a:off x="1330960" y="2422525"/>
            <a:ext cx="3719830" cy="3719830"/>
          </a:xfrm>
          <a:prstGeom prst="donut">
            <a:avLst>
              <a:gd name="adj" fmla="val 771"/>
            </a:avLst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200" b="1">
              <a:solidFill>
                <a:schemeClr val="tx1"/>
              </a:solidFill>
            </a:endParaRPr>
          </a:p>
        </p:txBody>
      </p:sp>
      <p:sp>
        <p:nvSpPr>
          <p:cNvPr id="37" name="椭圆 36"/>
          <p:cNvSpPr/>
          <p:nvPr/>
        </p:nvSpPr>
        <p:spPr>
          <a:xfrm rot="659" flipH="1">
            <a:off x="2139950" y="3231515"/>
            <a:ext cx="2102485" cy="210248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b="1" dirty="0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自动过滤</a:t>
            </a:r>
            <a:endParaRPr kumimoji="1" lang="zh-CN" altLang="en-US" b="1" dirty="0">
              <a:solidFill>
                <a:srgbClr val="FFFFFF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0" name="椭圆 39"/>
          <p:cNvSpPr/>
          <p:nvPr/>
        </p:nvSpPr>
        <p:spPr>
          <a:xfrm>
            <a:off x="4681220" y="3467100"/>
            <a:ext cx="1262380" cy="12623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b="1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饱和度</a:t>
            </a:r>
            <a:endParaRPr kumimoji="1" lang="zh-CN" altLang="en-US" b="1" dirty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2" name="椭圆 41"/>
          <p:cNvSpPr/>
          <p:nvPr/>
        </p:nvSpPr>
        <p:spPr>
          <a:xfrm rot="10800000" flipH="1" flipV="1">
            <a:off x="1330960" y="1809115"/>
            <a:ext cx="1262380" cy="12623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b="1" dirty="0">
                <a:solidFill>
                  <a:schemeClr val="bg1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IV</a:t>
            </a:r>
            <a:endParaRPr kumimoji="1" lang="en-US" altLang="zh-CN" b="1" dirty="0">
              <a:solidFill>
                <a:schemeClr val="bg1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11" name="组合 10"/>
          <p:cNvGrpSpPr/>
          <p:nvPr/>
        </p:nvGrpSpPr>
        <p:grpSpPr>
          <a:xfrm rot="0">
            <a:off x="7605395" y="2194560"/>
            <a:ext cx="3785870" cy="990632"/>
            <a:chOff x="7119257" y="2419545"/>
            <a:chExt cx="4495009" cy="974788"/>
          </a:xfrm>
          <a:noFill/>
        </p:grpSpPr>
        <p:sp>
          <p:nvSpPr>
            <p:cNvPr id="14" name="矩形 13"/>
            <p:cNvSpPr/>
            <p:nvPr/>
          </p:nvSpPr>
          <p:spPr>
            <a:xfrm>
              <a:off x="7119257" y="2419545"/>
              <a:ext cx="2097758" cy="3311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en-US" altLang="zh-CN" sz="1600" b="1" dirty="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rPr>
                <a:t>IV</a:t>
              </a:r>
              <a:endParaRPr kumimoji="1" lang="en-US" altLang="zh-CN" sz="1600" b="1" dirty="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7119257" y="2754493"/>
              <a:ext cx="4495009" cy="6398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indent="-171450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有效特征多时，可以剔除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IV&lt;0.02</a:t>
              </a: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标签</a:t>
              </a:r>
              <a:endPara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  <a:p>
              <a:pPr marL="171450" indent="-171450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有效特征少时，可以适当减小阈值，如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0.01</a:t>
              </a:r>
              <a:endParaRPr kumimoji="1" lang="en-US" altLang="zh-CN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29" name="文本框 28"/>
          <p:cNvSpPr txBox="1"/>
          <p:nvPr/>
        </p:nvSpPr>
        <p:spPr>
          <a:xfrm>
            <a:off x="7052945" y="2275205"/>
            <a:ext cx="480695" cy="48069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91440" tIns="45720" rIns="91440" bIns="45720" rtlCol="0" anchor="ctr" anchorCtr="0">
            <a:noAutofit/>
          </a:bodyPr>
          <a:lstStyle/>
          <a:p>
            <a:pPr algn="ctr"/>
            <a:r>
              <a:rPr kumimoji="1" lang="en-US" altLang="zh-CN" sz="2000" b="1" dirty="0">
                <a:solidFill>
                  <a:srgbClr val="FFFFFF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01</a:t>
            </a:r>
            <a:endParaRPr kumimoji="1" lang="zh-CN" altLang="en-US" sz="2000" b="1" dirty="0">
              <a:solidFill>
                <a:srgbClr val="FFFFFF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24" name="组合 23"/>
          <p:cNvGrpSpPr/>
          <p:nvPr/>
        </p:nvGrpSpPr>
        <p:grpSpPr>
          <a:xfrm rot="0">
            <a:off x="7598410" y="3601085"/>
            <a:ext cx="3785235" cy="1550678"/>
            <a:chOff x="7119257" y="2418942"/>
            <a:chExt cx="4495009" cy="1525883"/>
          </a:xfrm>
          <a:noFill/>
        </p:grpSpPr>
        <p:sp>
          <p:nvSpPr>
            <p:cNvPr id="20" name="矩形 19"/>
            <p:cNvSpPr/>
            <p:nvPr/>
          </p:nvSpPr>
          <p:spPr>
            <a:xfrm>
              <a:off x="7119257" y="2418942"/>
              <a:ext cx="2097759" cy="3317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zh-CN" altLang="en-US" sz="1600" b="1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饱和度</a:t>
              </a:r>
              <a:endParaRPr kumimoji="1" lang="zh-CN" altLang="en-US" sz="1600" b="1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7119257" y="2754492"/>
              <a:ext cx="4495009" cy="11903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indent="-171450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剔除饱和度低标签</a:t>
              </a:r>
              <a:endPara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  <a:p>
              <a:pPr marL="171450" indent="-171450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注意连续型和离散型标签（离散型取值为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0</a:t>
              </a: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的不是缺失，连续型为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0</a:t>
              </a: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的视业务意义确定是否缺失）</a:t>
              </a:r>
              <a:endPara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32" name="文本框 31"/>
          <p:cNvSpPr txBox="1"/>
          <p:nvPr/>
        </p:nvSpPr>
        <p:spPr>
          <a:xfrm>
            <a:off x="7052945" y="3689985"/>
            <a:ext cx="473710" cy="473710"/>
          </a:xfrm>
          <a:prstGeom prst="roundRect">
            <a:avLst>
              <a:gd name="adj" fmla="val 50000"/>
            </a:avLst>
          </a:prstGeom>
          <a:solidFill>
            <a:schemeClr val="tx2">
              <a:alpha val="15000"/>
            </a:schemeClr>
          </a:solidFill>
        </p:spPr>
        <p:txBody>
          <a:bodyPr wrap="none" lIns="91440" tIns="45720" rIns="91440" bIns="45720" rtlCol="0" anchor="ctr" anchorCtr="0">
            <a:noAutofit/>
          </a:bodyPr>
          <a:lstStyle>
            <a:defPPr>
              <a:defRPr lang="zh-CN"/>
            </a:defPPr>
            <a:lvl1pPr algn="ctr">
              <a:defRPr kumimoji="1" sz="2000" b="1"/>
            </a:lvl1pPr>
          </a:lstStyle>
          <a:p>
            <a:r>
              <a:rPr lang="en-US" altLang="zh-CN" dirty="0">
                <a:latin typeface="Calibri" panose="020F0502020204030204" pitchFamily="34" charset="0"/>
                <a:ea typeface="宋体" panose="02010600030101010101" pitchFamily="2" charset="-122"/>
              </a:rPr>
              <a:t>02</a:t>
            </a:r>
            <a:endParaRPr lang="zh-CN" altLang="en-US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38" name="直接连接符 37"/>
          <p:cNvCxnSpPr/>
          <p:nvPr/>
        </p:nvCxnSpPr>
        <p:spPr>
          <a:xfrm>
            <a:off x="6096000" y="1808480"/>
            <a:ext cx="0" cy="4333240"/>
          </a:xfrm>
          <a:prstGeom prst="line">
            <a:avLst/>
          </a:prstGeom>
          <a:ln>
            <a:solidFill>
              <a:schemeClr val="tx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组合 40"/>
          <p:cNvGrpSpPr/>
          <p:nvPr/>
        </p:nvGrpSpPr>
        <p:grpSpPr>
          <a:xfrm rot="0">
            <a:off x="7598410" y="5247005"/>
            <a:ext cx="3785235" cy="991242"/>
            <a:chOff x="7119257" y="2418942"/>
            <a:chExt cx="4495009" cy="975395"/>
          </a:xfrm>
          <a:noFill/>
        </p:grpSpPr>
        <p:sp>
          <p:nvSpPr>
            <p:cNvPr id="43" name="矩形 42"/>
            <p:cNvSpPr/>
            <p:nvPr/>
          </p:nvSpPr>
          <p:spPr>
            <a:xfrm>
              <a:off x="7119257" y="2418942"/>
              <a:ext cx="2097759" cy="3317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zh-CN" altLang="en-US" sz="1600" b="1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特征重要性</a:t>
              </a:r>
              <a:endParaRPr kumimoji="1" lang="zh-CN" altLang="en-US" sz="1600" b="1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44" name="矩形 43"/>
            <p:cNvSpPr/>
            <p:nvPr/>
          </p:nvSpPr>
          <p:spPr>
            <a:xfrm>
              <a:off x="7119257" y="2754492"/>
              <a:ext cx="4495009" cy="63984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indent="-171450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通过分类算法的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feature_importance</a:t>
              </a: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保留排在前面的标签</a:t>
              </a:r>
              <a:endPara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45" name="文本框 44"/>
          <p:cNvSpPr txBox="1"/>
          <p:nvPr/>
        </p:nvSpPr>
        <p:spPr>
          <a:xfrm>
            <a:off x="7052945" y="5335905"/>
            <a:ext cx="473710" cy="473710"/>
          </a:xfrm>
          <a:prstGeom prst="roundRect">
            <a:avLst>
              <a:gd name="adj" fmla="val 50000"/>
            </a:avLst>
          </a:prstGeom>
          <a:solidFill>
            <a:schemeClr val="tx2">
              <a:alpha val="15000"/>
            </a:schemeClr>
          </a:solidFill>
        </p:spPr>
        <p:txBody>
          <a:bodyPr wrap="none" lIns="91440" tIns="45720" rIns="91440" bIns="45720" rtlCol="0" anchor="ctr" anchorCtr="0">
            <a:noAutofit/>
          </a:bodyPr>
          <a:lstStyle>
            <a:defPPr>
              <a:defRPr lang="zh-CN"/>
            </a:defPPr>
            <a:lvl1pPr algn="ctr">
              <a:defRPr kumimoji="1" sz="2000" b="1"/>
            </a:lvl1pPr>
          </a:lstStyle>
          <a:p>
            <a:r>
              <a:rPr lang="en-US" altLang="zh-CN" dirty="0">
                <a:latin typeface="Calibri" panose="020F0502020204030204" pitchFamily="34" charset="0"/>
                <a:ea typeface="宋体" panose="02010600030101010101" pitchFamily="2" charset="-122"/>
              </a:rPr>
              <a:t>03</a:t>
            </a:r>
            <a:endParaRPr lang="zh-CN" altLang="en-US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46" name="椭圆 45"/>
          <p:cNvSpPr/>
          <p:nvPr/>
        </p:nvSpPr>
        <p:spPr>
          <a:xfrm>
            <a:off x="1016635" y="4982210"/>
            <a:ext cx="1262380" cy="12623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b="1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特征重要性</a:t>
            </a:r>
            <a:endParaRPr kumimoji="1" lang="zh-CN" altLang="en-US" b="1" dirty="0">
              <a:solidFill>
                <a:srgbClr val="FFFFFF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779260" y="1055370"/>
            <a:ext cx="3867150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洞察趋势：了解保险风控格局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3750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  <p:sp>
          <p:nvSpPr>
            <p:cNvPr id="20" name="直角三角形 19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</p:grpSp>
      <p:sp>
        <p:nvSpPr>
          <p:cNvPr id="21" name="等腰三角形 20"/>
          <p:cNvSpPr/>
          <p:nvPr/>
        </p:nvSpPr>
        <p:spPr>
          <a:xfrm rot="10273322">
            <a:off x="2884558" y="793348"/>
            <a:ext cx="1825398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2" name="直角三角形 21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3" name="文本框 6"/>
          <p:cNvSpPr txBox="1"/>
          <p:nvPr/>
        </p:nvSpPr>
        <p:spPr>
          <a:xfrm>
            <a:off x="630723" y="2708304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CONTENT</a:t>
            </a:r>
            <a:endParaRPr kumimoji="0" lang="en-US" altLang="zh-CN" sz="32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kumimoji="0" lang="zh-CN" altLang="en-US" sz="44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5881411" y="105546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1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5881411" y="200987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2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2" name="椭圆 71"/>
          <p:cNvSpPr/>
          <p:nvPr/>
        </p:nvSpPr>
        <p:spPr>
          <a:xfrm>
            <a:off x="5881411" y="296427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3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6779260" y="200596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突破瓶颈：小样本数据挖掘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6779260" y="295656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解码行为：破局稀缺</a:t>
            </a: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&amp;</a:t>
            </a: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精选标签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5882046" y="3918683"/>
            <a:ext cx="533400" cy="53340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>
                <a:latin typeface="+mj-lt"/>
                <a:ea typeface="Noto Sans S Chinese Regular" panose="020B0500000000000000" pitchFamily="34" charset="-122"/>
                <a:sym typeface="+mn-ea"/>
              </a:rPr>
              <a:t>4</a:t>
            </a:r>
            <a:endParaRPr lang="en-US" altLang="zh-CN" sz="2000" b="1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79895" y="3907155"/>
            <a:ext cx="3867785" cy="533400"/>
          </a:xfrm>
          <a:prstGeom prst="rect">
            <a:avLst/>
          </a:prstGeom>
          <a:solidFill>
            <a:srgbClr val="FF66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实测胜算：AB实验测试效果</a:t>
            </a:r>
            <a:endParaRPr lang="zh-CN" altLang="en-US" sz="2000" b="1" dirty="0" smtClean="0">
              <a:solidFill>
                <a:schemeClr val="bg1"/>
              </a:solidFill>
              <a:sym typeface="+mn-ea"/>
            </a:endParaRPr>
          </a:p>
        </p:txBody>
      </p:sp>
      <p:sp>
        <p:nvSpPr>
          <p:cNvPr id="9" name="椭圆 8"/>
          <p:cNvSpPr/>
          <p:nvPr/>
        </p:nvSpPr>
        <p:spPr>
          <a:xfrm>
            <a:off x="5882046" y="487308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5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79895" y="485775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析风险：构建可解释的模型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实测胜算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怎么说明模型效果更好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5989955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0000"/>
          </a:bodyPr>
          <a:p>
            <a:pPr marL="106045" indent="0">
              <a:buNone/>
            </a:pPr>
            <a:r>
              <a:rPr lang="en-US" altLang="zh-CN" sz="1800" dirty="0" smtClean="0"/>
              <a:t>AB</a:t>
            </a:r>
            <a:r>
              <a:rPr lang="zh-CN" altLang="en-US" sz="1800" dirty="0" smtClean="0"/>
              <a:t>实验</a:t>
            </a:r>
            <a:endParaRPr lang="zh-CN" altLang="en-US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sync-symbol_73424"/>
          <p:cNvSpPr>
            <a:spLocks noChangeAspect="1"/>
          </p:cNvSpPr>
          <p:nvPr/>
        </p:nvSpPr>
        <p:spPr bwMode="auto">
          <a:xfrm>
            <a:off x="5448935" y="1908810"/>
            <a:ext cx="575945" cy="609600"/>
          </a:xfrm>
          <a:custGeom>
            <a:avLst/>
            <a:gdLst>
              <a:gd name="connsiteX0" fmla="*/ 435703 w 572779"/>
              <a:gd name="connsiteY0" fmla="*/ 160183 h 606580"/>
              <a:gd name="connsiteX1" fmla="*/ 479697 w 572779"/>
              <a:gd name="connsiteY1" fmla="*/ 160183 h 606580"/>
              <a:gd name="connsiteX2" fmla="*/ 479581 w 572779"/>
              <a:gd name="connsiteY2" fmla="*/ 160472 h 606580"/>
              <a:gd name="connsiteX3" fmla="*/ 479812 w 572779"/>
              <a:gd name="connsiteY3" fmla="*/ 160472 h 606580"/>
              <a:gd name="connsiteX4" fmla="*/ 478713 w 572779"/>
              <a:gd name="connsiteY4" fmla="*/ 162726 h 606580"/>
              <a:gd name="connsiteX5" fmla="*/ 469682 w 572779"/>
              <a:gd name="connsiteY5" fmla="*/ 187227 h 606580"/>
              <a:gd name="connsiteX6" fmla="*/ 474776 w 572779"/>
              <a:gd name="connsiteY6" fmla="*/ 242470 h 606580"/>
              <a:gd name="connsiteX7" fmla="*/ 494284 w 572779"/>
              <a:gd name="connsiteY7" fmla="*/ 242470 h 606580"/>
              <a:gd name="connsiteX8" fmla="*/ 510840 w 572779"/>
              <a:gd name="connsiteY8" fmla="*/ 160183 h 606580"/>
              <a:gd name="connsiteX9" fmla="*/ 527338 w 572779"/>
              <a:gd name="connsiteY9" fmla="*/ 160183 h 606580"/>
              <a:gd name="connsiteX10" fmla="*/ 572779 w 572779"/>
              <a:gd name="connsiteY10" fmla="*/ 205430 h 606580"/>
              <a:gd name="connsiteX11" fmla="*/ 572779 w 572779"/>
              <a:gd name="connsiteY11" fmla="*/ 337413 h 606580"/>
              <a:gd name="connsiteX12" fmla="*/ 527396 w 572779"/>
              <a:gd name="connsiteY12" fmla="*/ 382717 h 606580"/>
              <a:gd name="connsiteX13" fmla="*/ 521607 w 572779"/>
              <a:gd name="connsiteY13" fmla="*/ 382717 h 606580"/>
              <a:gd name="connsiteX14" fmla="*/ 521607 w 572779"/>
              <a:gd name="connsiteY14" fmla="*/ 574624 h 606580"/>
              <a:gd name="connsiteX15" fmla="*/ 489595 w 572779"/>
              <a:gd name="connsiteY15" fmla="*/ 606580 h 606580"/>
              <a:gd name="connsiteX16" fmla="*/ 457815 w 572779"/>
              <a:gd name="connsiteY16" fmla="*/ 578149 h 606580"/>
              <a:gd name="connsiteX17" fmla="*/ 425978 w 572779"/>
              <a:gd name="connsiteY17" fmla="*/ 606580 h 606580"/>
              <a:gd name="connsiteX18" fmla="*/ 393966 w 572779"/>
              <a:gd name="connsiteY18" fmla="*/ 574624 h 606580"/>
              <a:gd name="connsiteX19" fmla="*/ 393966 w 572779"/>
              <a:gd name="connsiteY19" fmla="*/ 392541 h 606580"/>
              <a:gd name="connsiteX20" fmla="*/ 422967 w 572779"/>
              <a:gd name="connsiteY20" fmla="*/ 337528 h 606580"/>
              <a:gd name="connsiteX21" fmla="*/ 422967 w 572779"/>
              <a:gd name="connsiteY21" fmla="*/ 242528 h 606580"/>
              <a:gd name="connsiteX22" fmla="*/ 440739 w 572779"/>
              <a:gd name="connsiteY22" fmla="*/ 242528 h 606580"/>
              <a:gd name="connsiteX23" fmla="*/ 445833 w 572779"/>
              <a:gd name="connsiteY23" fmla="*/ 186996 h 606580"/>
              <a:gd name="connsiteX24" fmla="*/ 445196 w 572779"/>
              <a:gd name="connsiteY24" fmla="*/ 183991 h 606580"/>
              <a:gd name="connsiteX25" fmla="*/ 436860 w 572779"/>
              <a:gd name="connsiteY25" fmla="*/ 162726 h 606580"/>
              <a:gd name="connsiteX26" fmla="*/ 435818 w 572779"/>
              <a:gd name="connsiteY26" fmla="*/ 160472 h 606580"/>
              <a:gd name="connsiteX27" fmla="*/ 435876 w 572779"/>
              <a:gd name="connsiteY27" fmla="*/ 160472 h 606580"/>
              <a:gd name="connsiteX28" fmla="*/ 435703 w 572779"/>
              <a:gd name="connsiteY28" fmla="*/ 160183 h 606580"/>
              <a:gd name="connsiteX29" fmla="*/ 264349 w 572779"/>
              <a:gd name="connsiteY29" fmla="*/ 160183 h 606580"/>
              <a:gd name="connsiteX30" fmla="*/ 308327 w 572779"/>
              <a:gd name="connsiteY30" fmla="*/ 160183 h 606580"/>
              <a:gd name="connsiteX31" fmla="*/ 308154 w 572779"/>
              <a:gd name="connsiteY31" fmla="*/ 160472 h 606580"/>
              <a:gd name="connsiteX32" fmla="*/ 308385 w 572779"/>
              <a:gd name="connsiteY32" fmla="*/ 160472 h 606580"/>
              <a:gd name="connsiteX33" fmla="*/ 307344 w 572779"/>
              <a:gd name="connsiteY33" fmla="*/ 162726 h 606580"/>
              <a:gd name="connsiteX34" fmla="*/ 298316 w 572779"/>
              <a:gd name="connsiteY34" fmla="*/ 187227 h 606580"/>
              <a:gd name="connsiteX35" fmla="*/ 303409 w 572779"/>
              <a:gd name="connsiteY35" fmla="*/ 242470 h 606580"/>
              <a:gd name="connsiteX36" fmla="*/ 322910 w 572779"/>
              <a:gd name="connsiteY36" fmla="*/ 242470 h 606580"/>
              <a:gd name="connsiteX37" fmla="*/ 339401 w 572779"/>
              <a:gd name="connsiteY37" fmla="*/ 160183 h 606580"/>
              <a:gd name="connsiteX38" fmla="*/ 355951 w 572779"/>
              <a:gd name="connsiteY38" fmla="*/ 160183 h 606580"/>
              <a:gd name="connsiteX39" fmla="*/ 401376 w 572779"/>
              <a:gd name="connsiteY39" fmla="*/ 205430 h 606580"/>
              <a:gd name="connsiteX40" fmla="*/ 401376 w 572779"/>
              <a:gd name="connsiteY40" fmla="*/ 337413 h 606580"/>
              <a:gd name="connsiteX41" fmla="*/ 356009 w 572779"/>
              <a:gd name="connsiteY41" fmla="*/ 382717 h 606580"/>
              <a:gd name="connsiteX42" fmla="*/ 350222 w 572779"/>
              <a:gd name="connsiteY42" fmla="*/ 382717 h 606580"/>
              <a:gd name="connsiteX43" fmla="*/ 350222 w 572779"/>
              <a:gd name="connsiteY43" fmla="*/ 574624 h 606580"/>
              <a:gd name="connsiteX44" fmla="*/ 318222 w 572779"/>
              <a:gd name="connsiteY44" fmla="*/ 606580 h 606580"/>
              <a:gd name="connsiteX45" fmla="*/ 286396 w 572779"/>
              <a:gd name="connsiteY45" fmla="*/ 578149 h 606580"/>
              <a:gd name="connsiteX46" fmla="*/ 254628 w 572779"/>
              <a:gd name="connsiteY46" fmla="*/ 606580 h 606580"/>
              <a:gd name="connsiteX47" fmla="*/ 222628 w 572779"/>
              <a:gd name="connsiteY47" fmla="*/ 574624 h 606580"/>
              <a:gd name="connsiteX48" fmla="*/ 222628 w 572779"/>
              <a:gd name="connsiteY48" fmla="*/ 382833 h 606580"/>
              <a:gd name="connsiteX49" fmla="*/ 216841 w 572779"/>
              <a:gd name="connsiteY49" fmla="*/ 382833 h 606580"/>
              <a:gd name="connsiteX50" fmla="*/ 171474 w 572779"/>
              <a:gd name="connsiteY50" fmla="*/ 337528 h 606580"/>
              <a:gd name="connsiteX51" fmla="*/ 171474 w 572779"/>
              <a:gd name="connsiteY51" fmla="*/ 205545 h 606580"/>
              <a:gd name="connsiteX52" fmla="*/ 216841 w 572779"/>
              <a:gd name="connsiteY52" fmla="*/ 160241 h 606580"/>
              <a:gd name="connsiteX53" fmla="*/ 233333 w 572779"/>
              <a:gd name="connsiteY53" fmla="*/ 160241 h 606580"/>
              <a:gd name="connsiteX54" fmla="*/ 249825 w 572779"/>
              <a:gd name="connsiteY54" fmla="*/ 242528 h 606580"/>
              <a:gd name="connsiteX55" fmla="*/ 269383 w 572779"/>
              <a:gd name="connsiteY55" fmla="*/ 242528 h 606580"/>
              <a:gd name="connsiteX56" fmla="*/ 274476 w 572779"/>
              <a:gd name="connsiteY56" fmla="*/ 186996 h 606580"/>
              <a:gd name="connsiteX57" fmla="*/ 273839 w 572779"/>
              <a:gd name="connsiteY57" fmla="*/ 183991 h 606580"/>
              <a:gd name="connsiteX58" fmla="*/ 265506 w 572779"/>
              <a:gd name="connsiteY58" fmla="*/ 162726 h 606580"/>
              <a:gd name="connsiteX59" fmla="*/ 264407 w 572779"/>
              <a:gd name="connsiteY59" fmla="*/ 160472 h 606580"/>
              <a:gd name="connsiteX60" fmla="*/ 264523 w 572779"/>
              <a:gd name="connsiteY60" fmla="*/ 160472 h 606580"/>
              <a:gd name="connsiteX61" fmla="*/ 264349 w 572779"/>
              <a:gd name="connsiteY61" fmla="*/ 160183 h 606580"/>
              <a:gd name="connsiteX62" fmla="*/ 92987 w 572779"/>
              <a:gd name="connsiteY62" fmla="*/ 160183 h 606580"/>
              <a:gd name="connsiteX63" fmla="*/ 136964 w 572779"/>
              <a:gd name="connsiteY63" fmla="*/ 160183 h 606580"/>
              <a:gd name="connsiteX64" fmla="*/ 136791 w 572779"/>
              <a:gd name="connsiteY64" fmla="*/ 160472 h 606580"/>
              <a:gd name="connsiteX65" fmla="*/ 137022 w 572779"/>
              <a:gd name="connsiteY65" fmla="*/ 160472 h 606580"/>
              <a:gd name="connsiteX66" fmla="*/ 135923 w 572779"/>
              <a:gd name="connsiteY66" fmla="*/ 162726 h 606580"/>
              <a:gd name="connsiteX67" fmla="*/ 126896 w 572779"/>
              <a:gd name="connsiteY67" fmla="*/ 187227 h 606580"/>
              <a:gd name="connsiteX68" fmla="*/ 131988 w 572779"/>
              <a:gd name="connsiteY68" fmla="*/ 242470 h 606580"/>
              <a:gd name="connsiteX69" fmla="*/ 149752 w 572779"/>
              <a:gd name="connsiteY69" fmla="*/ 242470 h 606580"/>
              <a:gd name="connsiteX70" fmla="*/ 149752 w 572779"/>
              <a:gd name="connsiteY70" fmla="*/ 337471 h 606580"/>
              <a:gd name="connsiteX71" fmla="*/ 178742 w 572779"/>
              <a:gd name="connsiteY71" fmla="*/ 392483 h 606580"/>
              <a:gd name="connsiteX72" fmla="*/ 178742 w 572779"/>
              <a:gd name="connsiteY72" fmla="*/ 574624 h 606580"/>
              <a:gd name="connsiteX73" fmla="*/ 146743 w 572779"/>
              <a:gd name="connsiteY73" fmla="*/ 606580 h 606580"/>
              <a:gd name="connsiteX74" fmla="*/ 114976 w 572779"/>
              <a:gd name="connsiteY74" fmla="*/ 578149 h 606580"/>
              <a:gd name="connsiteX75" fmla="*/ 83151 w 572779"/>
              <a:gd name="connsiteY75" fmla="*/ 606580 h 606580"/>
              <a:gd name="connsiteX76" fmla="*/ 51152 w 572779"/>
              <a:gd name="connsiteY76" fmla="*/ 574624 h 606580"/>
              <a:gd name="connsiteX77" fmla="*/ 51152 w 572779"/>
              <a:gd name="connsiteY77" fmla="*/ 382833 h 606580"/>
              <a:gd name="connsiteX78" fmla="*/ 45365 w 572779"/>
              <a:gd name="connsiteY78" fmla="*/ 382833 h 606580"/>
              <a:gd name="connsiteX79" fmla="*/ 0 w 572779"/>
              <a:gd name="connsiteY79" fmla="*/ 337528 h 606580"/>
              <a:gd name="connsiteX80" fmla="*/ 0 w 572779"/>
              <a:gd name="connsiteY80" fmla="*/ 205545 h 606580"/>
              <a:gd name="connsiteX81" fmla="*/ 45365 w 572779"/>
              <a:gd name="connsiteY81" fmla="*/ 160241 h 606580"/>
              <a:gd name="connsiteX82" fmla="*/ 61972 w 572779"/>
              <a:gd name="connsiteY82" fmla="*/ 160241 h 606580"/>
              <a:gd name="connsiteX83" fmla="*/ 78464 w 572779"/>
              <a:gd name="connsiteY83" fmla="*/ 242528 h 606580"/>
              <a:gd name="connsiteX84" fmla="*/ 97964 w 572779"/>
              <a:gd name="connsiteY84" fmla="*/ 242528 h 606580"/>
              <a:gd name="connsiteX85" fmla="*/ 103056 w 572779"/>
              <a:gd name="connsiteY85" fmla="*/ 186996 h 606580"/>
              <a:gd name="connsiteX86" fmla="*/ 102477 w 572779"/>
              <a:gd name="connsiteY86" fmla="*/ 183991 h 606580"/>
              <a:gd name="connsiteX87" fmla="*/ 94145 w 572779"/>
              <a:gd name="connsiteY87" fmla="*/ 162726 h 606580"/>
              <a:gd name="connsiteX88" fmla="*/ 93045 w 572779"/>
              <a:gd name="connsiteY88" fmla="*/ 160472 h 606580"/>
              <a:gd name="connsiteX89" fmla="*/ 93103 w 572779"/>
              <a:gd name="connsiteY89" fmla="*/ 160472 h 606580"/>
              <a:gd name="connsiteX90" fmla="*/ 92987 w 572779"/>
              <a:gd name="connsiteY90" fmla="*/ 160183 h 606580"/>
              <a:gd name="connsiteX91" fmla="*/ 457411 w 572779"/>
              <a:gd name="connsiteY91" fmla="*/ 751 h 606580"/>
              <a:gd name="connsiteX92" fmla="*/ 458047 w 572779"/>
              <a:gd name="connsiteY92" fmla="*/ 751 h 606580"/>
              <a:gd name="connsiteX93" fmla="*/ 521621 w 572779"/>
              <a:gd name="connsiteY93" fmla="*/ 49915 h 606580"/>
              <a:gd name="connsiteX94" fmla="*/ 523761 w 572779"/>
              <a:gd name="connsiteY94" fmla="*/ 66553 h 606580"/>
              <a:gd name="connsiteX95" fmla="*/ 458105 w 572779"/>
              <a:gd name="connsiteY95" fmla="*/ 132124 h 606580"/>
              <a:gd name="connsiteX96" fmla="*/ 457469 w 572779"/>
              <a:gd name="connsiteY96" fmla="*/ 132124 h 606580"/>
              <a:gd name="connsiteX97" fmla="*/ 393895 w 572779"/>
              <a:gd name="connsiteY97" fmla="*/ 82960 h 606580"/>
              <a:gd name="connsiteX98" fmla="*/ 391755 w 572779"/>
              <a:gd name="connsiteY98" fmla="*/ 66322 h 606580"/>
              <a:gd name="connsiteX99" fmla="*/ 457411 w 572779"/>
              <a:gd name="connsiteY99" fmla="*/ 751 h 606580"/>
              <a:gd name="connsiteX100" fmla="*/ 285868 w 572779"/>
              <a:gd name="connsiteY100" fmla="*/ 751 h 606580"/>
              <a:gd name="connsiteX101" fmla="*/ 286621 w 572779"/>
              <a:gd name="connsiteY101" fmla="*/ 751 h 606580"/>
              <a:gd name="connsiteX102" fmla="*/ 350227 w 572779"/>
              <a:gd name="connsiteY102" fmla="*/ 49915 h 606580"/>
              <a:gd name="connsiteX103" fmla="*/ 352369 w 572779"/>
              <a:gd name="connsiteY103" fmla="*/ 66553 h 606580"/>
              <a:gd name="connsiteX104" fmla="*/ 286736 w 572779"/>
              <a:gd name="connsiteY104" fmla="*/ 132124 h 606580"/>
              <a:gd name="connsiteX105" fmla="*/ 286100 w 572779"/>
              <a:gd name="connsiteY105" fmla="*/ 132124 h 606580"/>
              <a:gd name="connsiteX106" fmla="*/ 222493 w 572779"/>
              <a:gd name="connsiteY106" fmla="*/ 82845 h 606580"/>
              <a:gd name="connsiteX107" fmla="*/ 220351 w 572779"/>
              <a:gd name="connsiteY107" fmla="*/ 66264 h 606580"/>
              <a:gd name="connsiteX108" fmla="*/ 285868 w 572779"/>
              <a:gd name="connsiteY108" fmla="*/ 751 h 606580"/>
              <a:gd name="connsiteX109" fmla="*/ 114639 w 572779"/>
              <a:gd name="connsiteY109" fmla="*/ 751 h 606580"/>
              <a:gd name="connsiteX110" fmla="*/ 115275 w 572779"/>
              <a:gd name="connsiteY110" fmla="*/ 751 h 606580"/>
              <a:gd name="connsiteX111" fmla="*/ 178882 w 572779"/>
              <a:gd name="connsiteY111" fmla="*/ 49915 h 606580"/>
              <a:gd name="connsiteX112" fmla="*/ 181024 w 572779"/>
              <a:gd name="connsiteY112" fmla="*/ 66553 h 606580"/>
              <a:gd name="connsiteX113" fmla="*/ 115333 w 572779"/>
              <a:gd name="connsiteY113" fmla="*/ 132124 h 606580"/>
              <a:gd name="connsiteX114" fmla="*/ 114754 w 572779"/>
              <a:gd name="connsiteY114" fmla="*/ 132124 h 606580"/>
              <a:gd name="connsiteX115" fmla="*/ 51148 w 572779"/>
              <a:gd name="connsiteY115" fmla="*/ 82960 h 606580"/>
              <a:gd name="connsiteX116" fmla="*/ 49006 w 572779"/>
              <a:gd name="connsiteY116" fmla="*/ 66322 h 606580"/>
              <a:gd name="connsiteX117" fmla="*/ 114639 w 572779"/>
              <a:gd name="connsiteY117" fmla="*/ 751 h 606580"/>
              <a:gd name="connsiteX118" fmla="*/ 457410 w 572779"/>
              <a:gd name="connsiteY118" fmla="*/ 423 h 606580"/>
              <a:gd name="connsiteX119" fmla="*/ 391355 w 572779"/>
              <a:gd name="connsiteY119" fmla="*/ 66356 h 606580"/>
              <a:gd name="connsiteX120" fmla="*/ 393497 w 572779"/>
              <a:gd name="connsiteY120" fmla="*/ 83056 h 606580"/>
              <a:gd name="connsiteX121" fmla="*/ 457468 w 572779"/>
              <a:gd name="connsiteY121" fmla="*/ 132521 h 606580"/>
              <a:gd name="connsiteX122" fmla="*/ 457815 w 572779"/>
              <a:gd name="connsiteY122" fmla="*/ 132521 h 606580"/>
              <a:gd name="connsiteX123" fmla="*/ 458104 w 572779"/>
              <a:gd name="connsiteY123" fmla="*/ 132521 h 606580"/>
              <a:gd name="connsiteX124" fmla="*/ 524159 w 572779"/>
              <a:gd name="connsiteY124" fmla="*/ 66587 h 606580"/>
              <a:gd name="connsiteX125" fmla="*/ 522017 w 572779"/>
              <a:gd name="connsiteY125" fmla="*/ 49887 h 606580"/>
              <a:gd name="connsiteX126" fmla="*/ 458046 w 572779"/>
              <a:gd name="connsiteY126" fmla="*/ 423 h 606580"/>
              <a:gd name="connsiteX127" fmla="*/ 457699 w 572779"/>
              <a:gd name="connsiteY127" fmla="*/ 423 h 606580"/>
              <a:gd name="connsiteX128" fmla="*/ 114646 w 572779"/>
              <a:gd name="connsiteY128" fmla="*/ 423 h 606580"/>
              <a:gd name="connsiteX129" fmla="*/ 48620 w 572779"/>
              <a:gd name="connsiteY129" fmla="*/ 66356 h 606580"/>
              <a:gd name="connsiteX130" fmla="*/ 50761 w 572779"/>
              <a:gd name="connsiteY130" fmla="*/ 83056 h 606580"/>
              <a:gd name="connsiteX131" fmla="*/ 114762 w 572779"/>
              <a:gd name="connsiteY131" fmla="*/ 132521 h 606580"/>
              <a:gd name="connsiteX132" fmla="*/ 115051 w 572779"/>
              <a:gd name="connsiteY132" fmla="*/ 132521 h 606580"/>
              <a:gd name="connsiteX133" fmla="*/ 115340 w 572779"/>
              <a:gd name="connsiteY133" fmla="*/ 132521 h 606580"/>
              <a:gd name="connsiteX134" fmla="*/ 181424 w 572779"/>
              <a:gd name="connsiteY134" fmla="*/ 66587 h 606580"/>
              <a:gd name="connsiteX135" fmla="*/ 179225 w 572779"/>
              <a:gd name="connsiteY135" fmla="*/ 49887 h 606580"/>
              <a:gd name="connsiteX136" fmla="*/ 115282 w 572779"/>
              <a:gd name="connsiteY136" fmla="*/ 423 h 606580"/>
              <a:gd name="connsiteX137" fmla="*/ 114993 w 572779"/>
              <a:gd name="connsiteY137" fmla="*/ 423 h 606580"/>
              <a:gd name="connsiteX138" fmla="*/ 286036 w 572779"/>
              <a:gd name="connsiteY138" fmla="*/ 397 h 606580"/>
              <a:gd name="connsiteX139" fmla="*/ 219952 w 572779"/>
              <a:gd name="connsiteY139" fmla="*/ 66286 h 606580"/>
              <a:gd name="connsiteX140" fmla="*/ 222151 w 572779"/>
              <a:gd name="connsiteY140" fmla="*/ 82990 h 606580"/>
              <a:gd name="connsiteX141" fmla="*/ 286094 w 572779"/>
              <a:gd name="connsiteY141" fmla="*/ 132522 h 606580"/>
              <a:gd name="connsiteX142" fmla="*/ 286383 w 572779"/>
              <a:gd name="connsiteY142" fmla="*/ 132522 h 606580"/>
              <a:gd name="connsiteX143" fmla="*/ 286730 w 572779"/>
              <a:gd name="connsiteY143" fmla="*/ 132522 h 606580"/>
              <a:gd name="connsiteX144" fmla="*/ 352756 w 572779"/>
              <a:gd name="connsiteY144" fmla="*/ 66575 h 606580"/>
              <a:gd name="connsiteX145" fmla="*/ 350615 w 572779"/>
              <a:gd name="connsiteY145" fmla="*/ 49872 h 606580"/>
              <a:gd name="connsiteX146" fmla="*/ 286614 w 572779"/>
              <a:gd name="connsiteY146" fmla="*/ 397 h 606580"/>
              <a:gd name="connsiteX147" fmla="*/ 286325 w 572779"/>
              <a:gd name="connsiteY147" fmla="*/ 397 h 606580"/>
              <a:gd name="connsiteX148" fmla="*/ 457411 w 572779"/>
              <a:gd name="connsiteY148" fmla="*/ 0 h 606580"/>
              <a:gd name="connsiteX149" fmla="*/ 458047 w 572779"/>
              <a:gd name="connsiteY149" fmla="*/ 0 h 606580"/>
              <a:gd name="connsiteX150" fmla="*/ 522315 w 572779"/>
              <a:gd name="connsiteY150" fmla="*/ 49741 h 606580"/>
              <a:gd name="connsiteX151" fmla="*/ 524513 w 572779"/>
              <a:gd name="connsiteY151" fmla="*/ 66553 h 606580"/>
              <a:gd name="connsiteX152" fmla="*/ 458105 w 572779"/>
              <a:gd name="connsiteY152" fmla="*/ 132875 h 606580"/>
              <a:gd name="connsiteX153" fmla="*/ 457469 w 572779"/>
              <a:gd name="connsiteY153" fmla="*/ 132875 h 606580"/>
              <a:gd name="connsiteX154" fmla="*/ 393201 w 572779"/>
              <a:gd name="connsiteY154" fmla="*/ 83133 h 606580"/>
              <a:gd name="connsiteX155" fmla="*/ 391003 w 572779"/>
              <a:gd name="connsiteY155" fmla="*/ 66322 h 606580"/>
              <a:gd name="connsiteX156" fmla="*/ 457411 w 572779"/>
              <a:gd name="connsiteY156" fmla="*/ 0 h 606580"/>
              <a:gd name="connsiteX157" fmla="*/ 285868 w 572779"/>
              <a:gd name="connsiteY157" fmla="*/ 0 h 606580"/>
              <a:gd name="connsiteX158" fmla="*/ 286621 w 572779"/>
              <a:gd name="connsiteY158" fmla="*/ 0 h 606580"/>
              <a:gd name="connsiteX159" fmla="*/ 350980 w 572779"/>
              <a:gd name="connsiteY159" fmla="*/ 49741 h 606580"/>
              <a:gd name="connsiteX160" fmla="*/ 353179 w 572779"/>
              <a:gd name="connsiteY160" fmla="*/ 66553 h 606580"/>
              <a:gd name="connsiteX161" fmla="*/ 286736 w 572779"/>
              <a:gd name="connsiteY161" fmla="*/ 132875 h 606580"/>
              <a:gd name="connsiteX162" fmla="*/ 286100 w 572779"/>
              <a:gd name="connsiteY162" fmla="*/ 132875 h 606580"/>
              <a:gd name="connsiteX163" fmla="*/ 221740 w 572779"/>
              <a:gd name="connsiteY163" fmla="*/ 83076 h 606580"/>
              <a:gd name="connsiteX164" fmla="*/ 219599 w 572779"/>
              <a:gd name="connsiteY164" fmla="*/ 66264 h 606580"/>
              <a:gd name="connsiteX165" fmla="*/ 285868 w 572779"/>
              <a:gd name="connsiteY165" fmla="*/ 0 h 606580"/>
              <a:gd name="connsiteX166" fmla="*/ 114639 w 572779"/>
              <a:gd name="connsiteY166" fmla="*/ 0 h 606580"/>
              <a:gd name="connsiteX167" fmla="*/ 115275 w 572779"/>
              <a:gd name="connsiteY167" fmla="*/ 0 h 606580"/>
              <a:gd name="connsiteX168" fmla="*/ 179635 w 572779"/>
              <a:gd name="connsiteY168" fmla="*/ 49741 h 606580"/>
              <a:gd name="connsiteX169" fmla="*/ 181776 w 572779"/>
              <a:gd name="connsiteY169" fmla="*/ 66553 h 606580"/>
              <a:gd name="connsiteX170" fmla="*/ 115333 w 572779"/>
              <a:gd name="connsiteY170" fmla="*/ 132875 h 606580"/>
              <a:gd name="connsiteX171" fmla="*/ 114754 w 572779"/>
              <a:gd name="connsiteY171" fmla="*/ 132875 h 606580"/>
              <a:gd name="connsiteX172" fmla="*/ 50395 w 572779"/>
              <a:gd name="connsiteY172" fmla="*/ 83133 h 606580"/>
              <a:gd name="connsiteX173" fmla="*/ 48196 w 572779"/>
              <a:gd name="connsiteY173" fmla="*/ 66322 h 606580"/>
              <a:gd name="connsiteX174" fmla="*/ 114639 w 572779"/>
              <a:gd name="connsiteY174" fmla="*/ 0 h 606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572779" h="606580">
                <a:moveTo>
                  <a:pt x="435703" y="160183"/>
                </a:moveTo>
                <a:lnTo>
                  <a:pt x="479697" y="160183"/>
                </a:lnTo>
                <a:cubicBezTo>
                  <a:pt x="479639" y="160241"/>
                  <a:pt x="479639" y="160414"/>
                  <a:pt x="479581" y="160472"/>
                </a:cubicBezTo>
                <a:lnTo>
                  <a:pt x="479812" y="160472"/>
                </a:lnTo>
                <a:cubicBezTo>
                  <a:pt x="479407" y="161281"/>
                  <a:pt x="478713" y="162726"/>
                  <a:pt x="478713" y="162726"/>
                </a:cubicBezTo>
                <a:cubicBezTo>
                  <a:pt x="474834" y="170989"/>
                  <a:pt x="471245" y="178848"/>
                  <a:pt x="469682" y="187227"/>
                </a:cubicBezTo>
                <a:lnTo>
                  <a:pt x="474776" y="242470"/>
                </a:lnTo>
                <a:lnTo>
                  <a:pt x="494284" y="242470"/>
                </a:lnTo>
                <a:lnTo>
                  <a:pt x="510840" y="160183"/>
                </a:lnTo>
                <a:lnTo>
                  <a:pt x="527338" y="160183"/>
                </a:lnTo>
                <a:cubicBezTo>
                  <a:pt x="552345" y="160183"/>
                  <a:pt x="572663" y="180466"/>
                  <a:pt x="572779" y="205430"/>
                </a:cubicBezTo>
                <a:lnTo>
                  <a:pt x="572779" y="337413"/>
                </a:lnTo>
                <a:cubicBezTo>
                  <a:pt x="572779" y="362434"/>
                  <a:pt x="552519" y="382717"/>
                  <a:pt x="527396" y="382717"/>
                </a:cubicBezTo>
                <a:lnTo>
                  <a:pt x="521607" y="382717"/>
                </a:lnTo>
                <a:lnTo>
                  <a:pt x="521607" y="574624"/>
                </a:lnTo>
                <a:cubicBezTo>
                  <a:pt x="521607" y="592249"/>
                  <a:pt x="507251" y="606580"/>
                  <a:pt x="489595" y="606580"/>
                </a:cubicBezTo>
                <a:cubicBezTo>
                  <a:pt x="473155" y="606580"/>
                  <a:pt x="459552" y="594098"/>
                  <a:pt x="457815" y="578149"/>
                </a:cubicBezTo>
                <a:cubicBezTo>
                  <a:pt x="456021" y="594214"/>
                  <a:pt x="442417" y="606580"/>
                  <a:pt x="425978" y="606580"/>
                </a:cubicBezTo>
                <a:cubicBezTo>
                  <a:pt x="408322" y="606580"/>
                  <a:pt x="393966" y="592249"/>
                  <a:pt x="393966" y="574624"/>
                </a:cubicBezTo>
                <a:lnTo>
                  <a:pt x="393966" y="392541"/>
                </a:lnTo>
                <a:cubicBezTo>
                  <a:pt x="411506" y="380521"/>
                  <a:pt x="422967" y="360354"/>
                  <a:pt x="422967" y="337528"/>
                </a:cubicBezTo>
                <a:lnTo>
                  <a:pt x="422967" y="242528"/>
                </a:lnTo>
                <a:lnTo>
                  <a:pt x="440739" y="242528"/>
                </a:lnTo>
                <a:lnTo>
                  <a:pt x="445833" y="186996"/>
                </a:lnTo>
                <a:cubicBezTo>
                  <a:pt x="445659" y="186013"/>
                  <a:pt x="445428" y="184973"/>
                  <a:pt x="445196" y="183991"/>
                </a:cubicBezTo>
                <a:cubicBezTo>
                  <a:pt x="443459" y="176768"/>
                  <a:pt x="440276" y="169891"/>
                  <a:pt x="436860" y="162726"/>
                </a:cubicBezTo>
                <a:cubicBezTo>
                  <a:pt x="436860" y="162726"/>
                  <a:pt x="436166" y="161281"/>
                  <a:pt x="435818" y="160472"/>
                </a:cubicBezTo>
                <a:lnTo>
                  <a:pt x="435876" y="160472"/>
                </a:lnTo>
                <a:cubicBezTo>
                  <a:pt x="435818" y="160356"/>
                  <a:pt x="435818" y="160241"/>
                  <a:pt x="435703" y="160183"/>
                </a:cubicBezTo>
                <a:close/>
                <a:moveTo>
                  <a:pt x="264349" y="160183"/>
                </a:moveTo>
                <a:lnTo>
                  <a:pt x="308327" y="160183"/>
                </a:lnTo>
                <a:cubicBezTo>
                  <a:pt x="308269" y="160241"/>
                  <a:pt x="308269" y="160414"/>
                  <a:pt x="308154" y="160472"/>
                </a:cubicBezTo>
                <a:lnTo>
                  <a:pt x="308385" y="160472"/>
                </a:lnTo>
                <a:cubicBezTo>
                  <a:pt x="308038" y="161281"/>
                  <a:pt x="307344" y="162726"/>
                  <a:pt x="307344" y="162726"/>
                </a:cubicBezTo>
                <a:cubicBezTo>
                  <a:pt x="303467" y="170989"/>
                  <a:pt x="299821" y="178848"/>
                  <a:pt x="298316" y="187227"/>
                </a:cubicBezTo>
                <a:lnTo>
                  <a:pt x="303409" y="242470"/>
                </a:lnTo>
                <a:lnTo>
                  <a:pt x="322910" y="242470"/>
                </a:lnTo>
                <a:lnTo>
                  <a:pt x="339401" y="160183"/>
                </a:lnTo>
                <a:lnTo>
                  <a:pt x="355951" y="160183"/>
                </a:lnTo>
                <a:cubicBezTo>
                  <a:pt x="380949" y="160183"/>
                  <a:pt x="401202" y="180466"/>
                  <a:pt x="401376" y="205430"/>
                </a:cubicBezTo>
                <a:lnTo>
                  <a:pt x="401376" y="337413"/>
                </a:lnTo>
                <a:cubicBezTo>
                  <a:pt x="401376" y="362434"/>
                  <a:pt x="381065" y="382717"/>
                  <a:pt x="356009" y="382717"/>
                </a:cubicBezTo>
                <a:lnTo>
                  <a:pt x="350222" y="382717"/>
                </a:lnTo>
                <a:lnTo>
                  <a:pt x="350222" y="574624"/>
                </a:lnTo>
                <a:cubicBezTo>
                  <a:pt x="350222" y="592249"/>
                  <a:pt x="335872" y="606580"/>
                  <a:pt x="318222" y="606580"/>
                </a:cubicBezTo>
                <a:cubicBezTo>
                  <a:pt x="301788" y="606580"/>
                  <a:pt x="288190" y="594098"/>
                  <a:pt x="286396" y="578149"/>
                </a:cubicBezTo>
                <a:cubicBezTo>
                  <a:pt x="284660" y="594214"/>
                  <a:pt x="271062" y="606580"/>
                  <a:pt x="254628" y="606580"/>
                </a:cubicBezTo>
                <a:cubicBezTo>
                  <a:pt x="236978" y="606580"/>
                  <a:pt x="222628" y="592249"/>
                  <a:pt x="222628" y="574624"/>
                </a:cubicBezTo>
                <a:lnTo>
                  <a:pt x="222628" y="382833"/>
                </a:lnTo>
                <a:lnTo>
                  <a:pt x="216841" y="382833"/>
                </a:lnTo>
                <a:cubicBezTo>
                  <a:pt x="191727" y="382833"/>
                  <a:pt x="171474" y="362608"/>
                  <a:pt x="171474" y="337528"/>
                </a:cubicBezTo>
                <a:lnTo>
                  <a:pt x="171474" y="205545"/>
                </a:lnTo>
                <a:cubicBezTo>
                  <a:pt x="171474" y="180524"/>
                  <a:pt x="191727" y="160241"/>
                  <a:pt x="216841" y="160241"/>
                </a:cubicBezTo>
                <a:lnTo>
                  <a:pt x="233333" y="160241"/>
                </a:lnTo>
                <a:lnTo>
                  <a:pt x="249825" y="242528"/>
                </a:lnTo>
                <a:lnTo>
                  <a:pt x="269383" y="242528"/>
                </a:lnTo>
                <a:lnTo>
                  <a:pt x="274476" y="186996"/>
                </a:lnTo>
                <a:cubicBezTo>
                  <a:pt x="274302" y="186013"/>
                  <a:pt x="274071" y="184973"/>
                  <a:pt x="273839" y="183991"/>
                </a:cubicBezTo>
                <a:cubicBezTo>
                  <a:pt x="272045" y="176768"/>
                  <a:pt x="268921" y="169891"/>
                  <a:pt x="265506" y="162726"/>
                </a:cubicBezTo>
                <a:cubicBezTo>
                  <a:pt x="265506" y="162726"/>
                  <a:pt x="264812" y="161281"/>
                  <a:pt x="264407" y="160472"/>
                </a:cubicBezTo>
                <a:lnTo>
                  <a:pt x="264523" y="160472"/>
                </a:lnTo>
                <a:cubicBezTo>
                  <a:pt x="264407" y="160356"/>
                  <a:pt x="264407" y="160241"/>
                  <a:pt x="264349" y="160183"/>
                </a:cubicBezTo>
                <a:close/>
                <a:moveTo>
                  <a:pt x="92987" y="160183"/>
                </a:moveTo>
                <a:lnTo>
                  <a:pt x="136964" y="160183"/>
                </a:lnTo>
                <a:cubicBezTo>
                  <a:pt x="136848" y="160241"/>
                  <a:pt x="136848" y="160414"/>
                  <a:pt x="136791" y="160472"/>
                </a:cubicBezTo>
                <a:lnTo>
                  <a:pt x="137022" y="160472"/>
                </a:lnTo>
                <a:cubicBezTo>
                  <a:pt x="136617" y="161281"/>
                  <a:pt x="135923" y="162726"/>
                  <a:pt x="135923" y="162726"/>
                </a:cubicBezTo>
                <a:cubicBezTo>
                  <a:pt x="132104" y="170989"/>
                  <a:pt x="128458" y="178848"/>
                  <a:pt x="126896" y="187227"/>
                </a:cubicBezTo>
                <a:lnTo>
                  <a:pt x="131988" y="242470"/>
                </a:lnTo>
                <a:lnTo>
                  <a:pt x="149752" y="242470"/>
                </a:lnTo>
                <a:lnTo>
                  <a:pt x="149752" y="337471"/>
                </a:lnTo>
                <a:cubicBezTo>
                  <a:pt x="149752" y="360296"/>
                  <a:pt x="161267" y="380406"/>
                  <a:pt x="178742" y="392483"/>
                </a:cubicBezTo>
                <a:lnTo>
                  <a:pt x="178742" y="574624"/>
                </a:lnTo>
                <a:cubicBezTo>
                  <a:pt x="178742" y="592249"/>
                  <a:pt x="164392" y="606580"/>
                  <a:pt x="146743" y="606580"/>
                </a:cubicBezTo>
                <a:cubicBezTo>
                  <a:pt x="130310" y="606580"/>
                  <a:pt x="116712" y="594098"/>
                  <a:pt x="114976" y="578149"/>
                </a:cubicBezTo>
                <a:cubicBezTo>
                  <a:pt x="113182" y="594214"/>
                  <a:pt x="99584" y="606580"/>
                  <a:pt x="83151" y="606580"/>
                </a:cubicBezTo>
                <a:cubicBezTo>
                  <a:pt x="65502" y="606580"/>
                  <a:pt x="51152" y="592249"/>
                  <a:pt x="51152" y="574624"/>
                </a:cubicBezTo>
                <a:lnTo>
                  <a:pt x="51152" y="382833"/>
                </a:lnTo>
                <a:lnTo>
                  <a:pt x="45365" y="382833"/>
                </a:lnTo>
                <a:cubicBezTo>
                  <a:pt x="20310" y="382833"/>
                  <a:pt x="0" y="362608"/>
                  <a:pt x="0" y="337528"/>
                </a:cubicBezTo>
                <a:lnTo>
                  <a:pt x="0" y="205545"/>
                </a:lnTo>
                <a:cubicBezTo>
                  <a:pt x="0" y="180524"/>
                  <a:pt x="20310" y="160241"/>
                  <a:pt x="45365" y="160241"/>
                </a:cubicBezTo>
                <a:lnTo>
                  <a:pt x="61972" y="160241"/>
                </a:lnTo>
                <a:lnTo>
                  <a:pt x="78464" y="242528"/>
                </a:lnTo>
                <a:lnTo>
                  <a:pt x="97964" y="242528"/>
                </a:lnTo>
                <a:lnTo>
                  <a:pt x="103056" y="186996"/>
                </a:lnTo>
                <a:cubicBezTo>
                  <a:pt x="102940" y="186013"/>
                  <a:pt x="102709" y="184973"/>
                  <a:pt x="102477" y="183991"/>
                </a:cubicBezTo>
                <a:cubicBezTo>
                  <a:pt x="100683" y="176768"/>
                  <a:pt x="97501" y="169891"/>
                  <a:pt x="94145" y="162726"/>
                </a:cubicBezTo>
                <a:cubicBezTo>
                  <a:pt x="94145" y="162726"/>
                  <a:pt x="93450" y="161281"/>
                  <a:pt x="93045" y="160472"/>
                </a:cubicBezTo>
                <a:lnTo>
                  <a:pt x="93103" y="160472"/>
                </a:lnTo>
                <a:cubicBezTo>
                  <a:pt x="93045" y="160356"/>
                  <a:pt x="93045" y="160241"/>
                  <a:pt x="92987" y="160183"/>
                </a:cubicBezTo>
                <a:close/>
                <a:moveTo>
                  <a:pt x="457411" y="751"/>
                </a:moveTo>
                <a:lnTo>
                  <a:pt x="458047" y="751"/>
                </a:lnTo>
                <a:cubicBezTo>
                  <a:pt x="488012" y="751"/>
                  <a:pt x="514158" y="20971"/>
                  <a:pt x="521621" y="49915"/>
                </a:cubicBezTo>
                <a:cubicBezTo>
                  <a:pt x="523009" y="55403"/>
                  <a:pt x="523761" y="61007"/>
                  <a:pt x="523761" y="66553"/>
                </a:cubicBezTo>
                <a:cubicBezTo>
                  <a:pt x="523761" y="102718"/>
                  <a:pt x="494317" y="132124"/>
                  <a:pt x="458105" y="132124"/>
                </a:cubicBezTo>
                <a:lnTo>
                  <a:pt x="457469" y="132124"/>
                </a:lnTo>
                <a:cubicBezTo>
                  <a:pt x="427504" y="132124"/>
                  <a:pt x="401358" y="111904"/>
                  <a:pt x="393895" y="82960"/>
                </a:cubicBezTo>
                <a:cubicBezTo>
                  <a:pt x="392507" y="77472"/>
                  <a:pt x="391755" y="71868"/>
                  <a:pt x="391755" y="66322"/>
                </a:cubicBezTo>
                <a:cubicBezTo>
                  <a:pt x="391755" y="30157"/>
                  <a:pt x="421199" y="751"/>
                  <a:pt x="457411" y="751"/>
                </a:cubicBezTo>
                <a:close/>
                <a:moveTo>
                  <a:pt x="285868" y="751"/>
                </a:moveTo>
                <a:lnTo>
                  <a:pt x="286621" y="751"/>
                </a:lnTo>
                <a:cubicBezTo>
                  <a:pt x="316601" y="751"/>
                  <a:pt x="342761" y="20971"/>
                  <a:pt x="350227" y="49915"/>
                </a:cubicBezTo>
                <a:cubicBezTo>
                  <a:pt x="351674" y="55403"/>
                  <a:pt x="352369" y="61007"/>
                  <a:pt x="352369" y="66553"/>
                </a:cubicBezTo>
                <a:cubicBezTo>
                  <a:pt x="352369" y="102718"/>
                  <a:pt x="322909" y="132124"/>
                  <a:pt x="286736" y="132124"/>
                </a:cubicBezTo>
                <a:lnTo>
                  <a:pt x="286100" y="132124"/>
                </a:lnTo>
                <a:cubicBezTo>
                  <a:pt x="256119" y="132124"/>
                  <a:pt x="229959" y="111846"/>
                  <a:pt x="222493" y="82845"/>
                </a:cubicBezTo>
                <a:cubicBezTo>
                  <a:pt x="221046" y="77414"/>
                  <a:pt x="220351" y="71810"/>
                  <a:pt x="220351" y="66264"/>
                </a:cubicBezTo>
                <a:cubicBezTo>
                  <a:pt x="220351" y="30157"/>
                  <a:pt x="249753" y="751"/>
                  <a:pt x="285868" y="751"/>
                </a:cubicBezTo>
                <a:close/>
                <a:moveTo>
                  <a:pt x="114639" y="751"/>
                </a:moveTo>
                <a:lnTo>
                  <a:pt x="115275" y="751"/>
                </a:lnTo>
                <a:cubicBezTo>
                  <a:pt x="145256" y="751"/>
                  <a:pt x="171416" y="20971"/>
                  <a:pt x="178882" y="49915"/>
                </a:cubicBezTo>
                <a:cubicBezTo>
                  <a:pt x="180329" y="55403"/>
                  <a:pt x="181024" y="61007"/>
                  <a:pt x="181024" y="66553"/>
                </a:cubicBezTo>
                <a:cubicBezTo>
                  <a:pt x="181024" y="102718"/>
                  <a:pt x="151564" y="132124"/>
                  <a:pt x="115333" y="132124"/>
                </a:cubicBezTo>
                <a:lnTo>
                  <a:pt x="114754" y="132124"/>
                </a:lnTo>
                <a:cubicBezTo>
                  <a:pt x="84774" y="132124"/>
                  <a:pt x="58614" y="111904"/>
                  <a:pt x="51148" y="82960"/>
                </a:cubicBezTo>
                <a:cubicBezTo>
                  <a:pt x="49701" y="77472"/>
                  <a:pt x="49006" y="71868"/>
                  <a:pt x="49006" y="66322"/>
                </a:cubicBezTo>
                <a:cubicBezTo>
                  <a:pt x="49006" y="30157"/>
                  <a:pt x="78466" y="751"/>
                  <a:pt x="114639" y="751"/>
                </a:cubicBezTo>
                <a:close/>
                <a:moveTo>
                  <a:pt x="457410" y="423"/>
                </a:moveTo>
                <a:cubicBezTo>
                  <a:pt x="420880" y="423"/>
                  <a:pt x="391355" y="29894"/>
                  <a:pt x="391355" y="66356"/>
                </a:cubicBezTo>
                <a:cubicBezTo>
                  <a:pt x="391355" y="72135"/>
                  <a:pt x="392108" y="77740"/>
                  <a:pt x="393497" y="83056"/>
                </a:cubicBezTo>
                <a:cubicBezTo>
                  <a:pt x="400849" y="111487"/>
                  <a:pt x="426669" y="132521"/>
                  <a:pt x="457468" y="132521"/>
                </a:cubicBezTo>
                <a:lnTo>
                  <a:pt x="457815" y="132521"/>
                </a:lnTo>
                <a:lnTo>
                  <a:pt x="458104" y="132521"/>
                </a:lnTo>
                <a:cubicBezTo>
                  <a:pt x="494634" y="132521"/>
                  <a:pt x="524159" y="103050"/>
                  <a:pt x="524159" y="66587"/>
                </a:cubicBezTo>
                <a:cubicBezTo>
                  <a:pt x="524159" y="60809"/>
                  <a:pt x="523406" y="55204"/>
                  <a:pt x="522017" y="49887"/>
                </a:cubicBezTo>
                <a:cubicBezTo>
                  <a:pt x="514665" y="21457"/>
                  <a:pt x="488845" y="423"/>
                  <a:pt x="458046" y="423"/>
                </a:cubicBezTo>
                <a:lnTo>
                  <a:pt x="457699" y="423"/>
                </a:lnTo>
                <a:close/>
                <a:moveTo>
                  <a:pt x="114646" y="423"/>
                </a:moveTo>
                <a:cubicBezTo>
                  <a:pt x="78190" y="423"/>
                  <a:pt x="48620" y="29894"/>
                  <a:pt x="48620" y="66356"/>
                </a:cubicBezTo>
                <a:cubicBezTo>
                  <a:pt x="48620" y="72135"/>
                  <a:pt x="49372" y="77740"/>
                  <a:pt x="50761" y="83056"/>
                </a:cubicBezTo>
                <a:cubicBezTo>
                  <a:pt x="58110" y="111487"/>
                  <a:pt x="83977" y="132521"/>
                  <a:pt x="114762" y="132521"/>
                </a:cubicBezTo>
                <a:lnTo>
                  <a:pt x="115051" y="132521"/>
                </a:lnTo>
                <a:lnTo>
                  <a:pt x="115340" y="132521"/>
                </a:lnTo>
                <a:cubicBezTo>
                  <a:pt x="151854" y="132521"/>
                  <a:pt x="181424" y="103050"/>
                  <a:pt x="181424" y="66587"/>
                </a:cubicBezTo>
                <a:cubicBezTo>
                  <a:pt x="181424" y="60809"/>
                  <a:pt x="180614" y="55204"/>
                  <a:pt x="179225" y="49887"/>
                </a:cubicBezTo>
                <a:cubicBezTo>
                  <a:pt x="171934" y="21457"/>
                  <a:pt x="146067" y="423"/>
                  <a:pt x="115282" y="423"/>
                </a:cubicBezTo>
                <a:lnTo>
                  <a:pt x="114993" y="423"/>
                </a:lnTo>
                <a:close/>
                <a:moveTo>
                  <a:pt x="286036" y="397"/>
                </a:moveTo>
                <a:cubicBezTo>
                  <a:pt x="249522" y="282"/>
                  <a:pt x="219952" y="29874"/>
                  <a:pt x="219952" y="66286"/>
                </a:cubicBezTo>
                <a:cubicBezTo>
                  <a:pt x="219952" y="72066"/>
                  <a:pt x="220762" y="77672"/>
                  <a:pt x="222151" y="82990"/>
                </a:cubicBezTo>
                <a:cubicBezTo>
                  <a:pt x="229442" y="111484"/>
                  <a:pt x="255309" y="132522"/>
                  <a:pt x="286094" y="132522"/>
                </a:cubicBezTo>
                <a:lnTo>
                  <a:pt x="286383" y="132522"/>
                </a:lnTo>
                <a:lnTo>
                  <a:pt x="286730" y="132522"/>
                </a:lnTo>
                <a:cubicBezTo>
                  <a:pt x="323186" y="132522"/>
                  <a:pt x="352756" y="103045"/>
                  <a:pt x="352756" y="66575"/>
                </a:cubicBezTo>
                <a:cubicBezTo>
                  <a:pt x="352756" y="60796"/>
                  <a:pt x="352004" y="55189"/>
                  <a:pt x="350615" y="49872"/>
                </a:cubicBezTo>
                <a:cubicBezTo>
                  <a:pt x="343266" y="21436"/>
                  <a:pt x="317399" y="397"/>
                  <a:pt x="286614" y="397"/>
                </a:cubicBezTo>
                <a:lnTo>
                  <a:pt x="286325" y="397"/>
                </a:lnTo>
                <a:close/>
                <a:moveTo>
                  <a:pt x="457411" y="0"/>
                </a:moveTo>
                <a:lnTo>
                  <a:pt x="458047" y="0"/>
                </a:lnTo>
                <a:cubicBezTo>
                  <a:pt x="488359" y="0"/>
                  <a:pt x="514795" y="20451"/>
                  <a:pt x="522315" y="49741"/>
                </a:cubicBezTo>
                <a:cubicBezTo>
                  <a:pt x="523761" y="55230"/>
                  <a:pt x="524513" y="60891"/>
                  <a:pt x="524513" y="66553"/>
                </a:cubicBezTo>
                <a:cubicBezTo>
                  <a:pt x="524513" y="103122"/>
                  <a:pt x="494722" y="132875"/>
                  <a:pt x="458105" y="132875"/>
                </a:cubicBezTo>
                <a:lnTo>
                  <a:pt x="457469" y="132875"/>
                </a:lnTo>
                <a:cubicBezTo>
                  <a:pt x="427157" y="132875"/>
                  <a:pt x="400721" y="112424"/>
                  <a:pt x="393201" y="83133"/>
                </a:cubicBezTo>
                <a:cubicBezTo>
                  <a:pt x="391755" y="77645"/>
                  <a:pt x="391003" y="71983"/>
                  <a:pt x="391003" y="66322"/>
                </a:cubicBezTo>
                <a:cubicBezTo>
                  <a:pt x="391003" y="29752"/>
                  <a:pt x="420794" y="0"/>
                  <a:pt x="457411" y="0"/>
                </a:cubicBezTo>
                <a:close/>
                <a:moveTo>
                  <a:pt x="285868" y="0"/>
                </a:moveTo>
                <a:lnTo>
                  <a:pt x="286621" y="0"/>
                </a:lnTo>
                <a:cubicBezTo>
                  <a:pt x="316948" y="0"/>
                  <a:pt x="343456" y="20451"/>
                  <a:pt x="350980" y="49741"/>
                </a:cubicBezTo>
                <a:cubicBezTo>
                  <a:pt x="352427" y="55287"/>
                  <a:pt x="353179" y="60891"/>
                  <a:pt x="353179" y="66553"/>
                </a:cubicBezTo>
                <a:cubicBezTo>
                  <a:pt x="353179" y="103122"/>
                  <a:pt x="323372" y="132875"/>
                  <a:pt x="286736" y="132875"/>
                </a:cubicBezTo>
                <a:lnTo>
                  <a:pt x="286100" y="132875"/>
                </a:lnTo>
                <a:cubicBezTo>
                  <a:pt x="255772" y="132875"/>
                  <a:pt x="229322" y="112366"/>
                  <a:pt x="221740" y="83076"/>
                </a:cubicBezTo>
                <a:cubicBezTo>
                  <a:pt x="220294" y="77530"/>
                  <a:pt x="219599" y="71868"/>
                  <a:pt x="219599" y="66264"/>
                </a:cubicBezTo>
                <a:cubicBezTo>
                  <a:pt x="219599" y="29695"/>
                  <a:pt x="249348" y="0"/>
                  <a:pt x="285868" y="0"/>
                </a:cubicBezTo>
                <a:close/>
                <a:moveTo>
                  <a:pt x="114639" y="0"/>
                </a:moveTo>
                <a:lnTo>
                  <a:pt x="115275" y="0"/>
                </a:lnTo>
                <a:cubicBezTo>
                  <a:pt x="145603" y="0"/>
                  <a:pt x="172053" y="20451"/>
                  <a:pt x="179635" y="49741"/>
                </a:cubicBezTo>
                <a:cubicBezTo>
                  <a:pt x="181081" y="55230"/>
                  <a:pt x="181776" y="60891"/>
                  <a:pt x="181776" y="66553"/>
                </a:cubicBezTo>
                <a:cubicBezTo>
                  <a:pt x="181776" y="103122"/>
                  <a:pt x="151969" y="132875"/>
                  <a:pt x="115333" y="132875"/>
                </a:cubicBezTo>
                <a:lnTo>
                  <a:pt x="114754" y="132875"/>
                </a:lnTo>
                <a:cubicBezTo>
                  <a:pt x="84427" y="132875"/>
                  <a:pt x="57919" y="112424"/>
                  <a:pt x="50395" y="83133"/>
                </a:cubicBezTo>
                <a:cubicBezTo>
                  <a:pt x="48948" y="77645"/>
                  <a:pt x="48196" y="71983"/>
                  <a:pt x="48196" y="66322"/>
                </a:cubicBezTo>
                <a:cubicBezTo>
                  <a:pt x="48196" y="29752"/>
                  <a:pt x="78003" y="0"/>
                  <a:pt x="11463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3" name="sync-symbol_73424"/>
          <p:cNvSpPr>
            <a:spLocks noChangeAspect="1"/>
          </p:cNvSpPr>
          <p:nvPr/>
        </p:nvSpPr>
        <p:spPr bwMode="auto">
          <a:xfrm>
            <a:off x="6841490" y="1908810"/>
            <a:ext cx="575945" cy="609600"/>
          </a:xfrm>
          <a:custGeom>
            <a:avLst/>
            <a:gdLst>
              <a:gd name="connsiteX0" fmla="*/ 435703 w 572779"/>
              <a:gd name="connsiteY0" fmla="*/ 160183 h 606580"/>
              <a:gd name="connsiteX1" fmla="*/ 479697 w 572779"/>
              <a:gd name="connsiteY1" fmla="*/ 160183 h 606580"/>
              <a:gd name="connsiteX2" fmla="*/ 479581 w 572779"/>
              <a:gd name="connsiteY2" fmla="*/ 160472 h 606580"/>
              <a:gd name="connsiteX3" fmla="*/ 479812 w 572779"/>
              <a:gd name="connsiteY3" fmla="*/ 160472 h 606580"/>
              <a:gd name="connsiteX4" fmla="*/ 478713 w 572779"/>
              <a:gd name="connsiteY4" fmla="*/ 162726 h 606580"/>
              <a:gd name="connsiteX5" fmla="*/ 469682 w 572779"/>
              <a:gd name="connsiteY5" fmla="*/ 187227 h 606580"/>
              <a:gd name="connsiteX6" fmla="*/ 474776 w 572779"/>
              <a:gd name="connsiteY6" fmla="*/ 242470 h 606580"/>
              <a:gd name="connsiteX7" fmla="*/ 494284 w 572779"/>
              <a:gd name="connsiteY7" fmla="*/ 242470 h 606580"/>
              <a:gd name="connsiteX8" fmla="*/ 510840 w 572779"/>
              <a:gd name="connsiteY8" fmla="*/ 160183 h 606580"/>
              <a:gd name="connsiteX9" fmla="*/ 527338 w 572779"/>
              <a:gd name="connsiteY9" fmla="*/ 160183 h 606580"/>
              <a:gd name="connsiteX10" fmla="*/ 572779 w 572779"/>
              <a:gd name="connsiteY10" fmla="*/ 205430 h 606580"/>
              <a:gd name="connsiteX11" fmla="*/ 572779 w 572779"/>
              <a:gd name="connsiteY11" fmla="*/ 337413 h 606580"/>
              <a:gd name="connsiteX12" fmla="*/ 527396 w 572779"/>
              <a:gd name="connsiteY12" fmla="*/ 382717 h 606580"/>
              <a:gd name="connsiteX13" fmla="*/ 521607 w 572779"/>
              <a:gd name="connsiteY13" fmla="*/ 382717 h 606580"/>
              <a:gd name="connsiteX14" fmla="*/ 521607 w 572779"/>
              <a:gd name="connsiteY14" fmla="*/ 574624 h 606580"/>
              <a:gd name="connsiteX15" fmla="*/ 489595 w 572779"/>
              <a:gd name="connsiteY15" fmla="*/ 606580 h 606580"/>
              <a:gd name="connsiteX16" fmla="*/ 457815 w 572779"/>
              <a:gd name="connsiteY16" fmla="*/ 578149 h 606580"/>
              <a:gd name="connsiteX17" fmla="*/ 425978 w 572779"/>
              <a:gd name="connsiteY17" fmla="*/ 606580 h 606580"/>
              <a:gd name="connsiteX18" fmla="*/ 393966 w 572779"/>
              <a:gd name="connsiteY18" fmla="*/ 574624 h 606580"/>
              <a:gd name="connsiteX19" fmla="*/ 393966 w 572779"/>
              <a:gd name="connsiteY19" fmla="*/ 392541 h 606580"/>
              <a:gd name="connsiteX20" fmla="*/ 422967 w 572779"/>
              <a:gd name="connsiteY20" fmla="*/ 337528 h 606580"/>
              <a:gd name="connsiteX21" fmla="*/ 422967 w 572779"/>
              <a:gd name="connsiteY21" fmla="*/ 242528 h 606580"/>
              <a:gd name="connsiteX22" fmla="*/ 440739 w 572779"/>
              <a:gd name="connsiteY22" fmla="*/ 242528 h 606580"/>
              <a:gd name="connsiteX23" fmla="*/ 445833 w 572779"/>
              <a:gd name="connsiteY23" fmla="*/ 186996 h 606580"/>
              <a:gd name="connsiteX24" fmla="*/ 445196 w 572779"/>
              <a:gd name="connsiteY24" fmla="*/ 183991 h 606580"/>
              <a:gd name="connsiteX25" fmla="*/ 436860 w 572779"/>
              <a:gd name="connsiteY25" fmla="*/ 162726 h 606580"/>
              <a:gd name="connsiteX26" fmla="*/ 435818 w 572779"/>
              <a:gd name="connsiteY26" fmla="*/ 160472 h 606580"/>
              <a:gd name="connsiteX27" fmla="*/ 435876 w 572779"/>
              <a:gd name="connsiteY27" fmla="*/ 160472 h 606580"/>
              <a:gd name="connsiteX28" fmla="*/ 435703 w 572779"/>
              <a:gd name="connsiteY28" fmla="*/ 160183 h 606580"/>
              <a:gd name="connsiteX29" fmla="*/ 264349 w 572779"/>
              <a:gd name="connsiteY29" fmla="*/ 160183 h 606580"/>
              <a:gd name="connsiteX30" fmla="*/ 308327 w 572779"/>
              <a:gd name="connsiteY30" fmla="*/ 160183 h 606580"/>
              <a:gd name="connsiteX31" fmla="*/ 308154 w 572779"/>
              <a:gd name="connsiteY31" fmla="*/ 160472 h 606580"/>
              <a:gd name="connsiteX32" fmla="*/ 308385 w 572779"/>
              <a:gd name="connsiteY32" fmla="*/ 160472 h 606580"/>
              <a:gd name="connsiteX33" fmla="*/ 307344 w 572779"/>
              <a:gd name="connsiteY33" fmla="*/ 162726 h 606580"/>
              <a:gd name="connsiteX34" fmla="*/ 298316 w 572779"/>
              <a:gd name="connsiteY34" fmla="*/ 187227 h 606580"/>
              <a:gd name="connsiteX35" fmla="*/ 303409 w 572779"/>
              <a:gd name="connsiteY35" fmla="*/ 242470 h 606580"/>
              <a:gd name="connsiteX36" fmla="*/ 322910 w 572779"/>
              <a:gd name="connsiteY36" fmla="*/ 242470 h 606580"/>
              <a:gd name="connsiteX37" fmla="*/ 339401 w 572779"/>
              <a:gd name="connsiteY37" fmla="*/ 160183 h 606580"/>
              <a:gd name="connsiteX38" fmla="*/ 355951 w 572779"/>
              <a:gd name="connsiteY38" fmla="*/ 160183 h 606580"/>
              <a:gd name="connsiteX39" fmla="*/ 401376 w 572779"/>
              <a:gd name="connsiteY39" fmla="*/ 205430 h 606580"/>
              <a:gd name="connsiteX40" fmla="*/ 401376 w 572779"/>
              <a:gd name="connsiteY40" fmla="*/ 337413 h 606580"/>
              <a:gd name="connsiteX41" fmla="*/ 356009 w 572779"/>
              <a:gd name="connsiteY41" fmla="*/ 382717 h 606580"/>
              <a:gd name="connsiteX42" fmla="*/ 350222 w 572779"/>
              <a:gd name="connsiteY42" fmla="*/ 382717 h 606580"/>
              <a:gd name="connsiteX43" fmla="*/ 350222 w 572779"/>
              <a:gd name="connsiteY43" fmla="*/ 574624 h 606580"/>
              <a:gd name="connsiteX44" fmla="*/ 318222 w 572779"/>
              <a:gd name="connsiteY44" fmla="*/ 606580 h 606580"/>
              <a:gd name="connsiteX45" fmla="*/ 286396 w 572779"/>
              <a:gd name="connsiteY45" fmla="*/ 578149 h 606580"/>
              <a:gd name="connsiteX46" fmla="*/ 254628 w 572779"/>
              <a:gd name="connsiteY46" fmla="*/ 606580 h 606580"/>
              <a:gd name="connsiteX47" fmla="*/ 222628 w 572779"/>
              <a:gd name="connsiteY47" fmla="*/ 574624 h 606580"/>
              <a:gd name="connsiteX48" fmla="*/ 222628 w 572779"/>
              <a:gd name="connsiteY48" fmla="*/ 382833 h 606580"/>
              <a:gd name="connsiteX49" fmla="*/ 216841 w 572779"/>
              <a:gd name="connsiteY49" fmla="*/ 382833 h 606580"/>
              <a:gd name="connsiteX50" fmla="*/ 171474 w 572779"/>
              <a:gd name="connsiteY50" fmla="*/ 337528 h 606580"/>
              <a:gd name="connsiteX51" fmla="*/ 171474 w 572779"/>
              <a:gd name="connsiteY51" fmla="*/ 205545 h 606580"/>
              <a:gd name="connsiteX52" fmla="*/ 216841 w 572779"/>
              <a:gd name="connsiteY52" fmla="*/ 160241 h 606580"/>
              <a:gd name="connsiteX53" fmla="*/ 233333 w 572779"/>
              <a:gd name="connsiteY53" fmla="*/ 160241 h 606580"/>
              <a:gd name="connsiteX54" fmla="*/ 249825 w 572779"/>
              <a:gd name="connsiteY54" fmla="*/ 242528 h 606580"/>
              <a:gd name="connsiteX55" fmla="*/ 269383 w 572779"/>
              <a:gd name="connsiteY55" fmla="*/ 242528 h 606580"/>
              <a:gd name="connsiteX56" fmla="*/ 274476 w 572779"/>
              <a:gd name="connsiteY56" fmla="*/ 186996 h 606580"/>
              <a:gd name="connsiteX57" fmla="*/ 273839 w 572779"/>
              <a:gd name="connsiteY57" fmla="*/ 183991 h 606580"/>
              <a:gd name="connsiteX58" fmla="*/ 265506 w 572779"/>
              <a:gd name="connsiteY58" fmla="*/ 162726 h 606580"/>
              <a:gd name="connsiteX59" fmla="*/ 264407 w 572779"/>
              <a:gd name="connsiteY59" fmla="*/ 160472 h 606580"/>
              <a:gd name="connsiteX60" fmla="*/ 264523 w 572779"/>
              <a:gd name="connsiteY60" fmla="*/ 160472 h 606580"/>
              <a:gd name="connsiteX61" fmla="*/ 264349 w 572779"/>
              <a:gd name="connsiteY61" fmla="*/ 160183 h 606580"/>
              <a:gd name="connsiteX62" fmla="*/ 92987 w 572779"/>
              <a:gd name="connsiteY62" fmla="*/ 160183 h 606580"/>
              <a:gd name="connsiteX63" fmla="*/ 136964 w 572779"/>
              <a:gd name="connsiteY63" fmla="*/ 160183 h 606580"/>
              <a:gd name="connsiteX64" fmla="*/ 136791 w 572779"/>
              <a:gd name="connsiteY64" fmla="*/ 160472 h 606580"/>
              <a:gd name="connsiteX65" fmla="*/ 137022 w 572779"/>
              <a:gd name="connsiteY65" fmla="*/ 160472 h 606580"/>
              <a:gd name="connsiteX66" fmla="*/ 135923 w 572779"/>
              <a:gd name="connsiteY66" fmla="*/ 162726 h 606580"/>
              <a:gd name="connsiteX67" fmla="*/ 126896 w 572779"/>
              <a:gd name="connsiteY67" fmla="*/ 187227 h 606580"/>
              <a:gd name="connsiteX68" fmla="*/ 131988 w 572779"/>
              <a:gd name="connsiteY68" fmla="*/ 242470 h 606580"/>
              <a:gd name="connsiteX69" fmla="*/ 149752 w 572779"/>
              <a:gd name="connsiteY69" fmla="*/ 242470 h 606580"/>
              <a:gd name="connsiteX70" fmla="*/ 149752 w 572779"/>
              <a:gd name="connsiteY70" fmla="*/ 337471 h 606580"/>
              <a:gd name="connsiteX71" fmla="*/ 178742 w 572779"/>
              <a:gd name="connsiteY71" fmla="*/ 392483 h 606580"/>
              <a:gd name="connsiteX72" fmla="*/ 178742 w 572779"/>
              <a:gd name="connsiteY72" fmla="*/ 574624 h 606580"/>
              <a:gd name="connsiteX73" fmla="*/ 146743 w 572779"/>
              <a:gd name="connsiteY73" fmla="*/ 606580 h 606580"/>
              <a:gd name="connsiteX74" fmla="*/ 114976 w 572779"/>
              <a:gd name="connsiteY74" fmla="*/ 578149 h 606580"/>
              <a:gd name="connsiteX75" fmla="*/ 83151 w 572779"/>
              <a:gd name="connsiteY75" fmla="*/ 606580 h 606580"/>
              <a:gd name="connsiteX76" fmla="*/ 51152 w 572779"/>
              <a:gd name="connsiteY76" fmla="*/ 574624 h 606580"/>
              <a:gd name="connsiteX77" fmla="*/ 51152 w 572779"/>
              <a:gd name="connsiteY77" fmla="*/ 382833 h 606580"/>
              <a:gd name="connsiteX78" fmla="*/ 45365 w 572779"/>
              <a:gd name="connsiteY78" fmla="*/ 382833 h 606580"/>
              <a:gd name="connsiteX79" fmla="*/ 0 w 572779"/>
              <a:gd name="connsiteY79" fmla="*/ 337528 h 606580"/>
              <a:gd name="connsiteX80" fmla="*/ 0 w 572779"/>
              <a:gd name="connsiteY80" fmla="*/ 205545 h 606580"/>
              <a:gd name="connsiteX81" fmla="*/ 45365 w 572779"/>
              <a:gd name="connsiteY81" fmla="*/ 160241 h 606580"/>
              <a:gd name="connsiteX82" fmla="*/ 61972 w 572779"/>
              <a:gd name="connsiteY82" fmla="*/ 160241 h 606580"/>
              <a:gd name="connsiteX83" fmla="*/ 78464 w 572779"/>
              <a:gd name="connsiteY83" fmla="*/ 242528 h 606580"/>
              <a:gd name="connsiteX84" fmla="*/ 97964 w 572779"/>
              <a:gd name="connsiteY84" fmla="*/ 242528 h 606580"/>
              <a:gd name="connsiteX85" fmla="*/ 103056 w 572779"/>
              <a:gd name="connsiteY85" fmla="*/ 186996 h 606580"/>
              <a:gd name="connsiteX86" fmla="*/ 102477 w 572779"/>
              <a:gd name="connsiteY86" fmla="*/ 183991 h 606580"/>
              <a:gd name="connsiteX87" fmla="*/ 94145 w 572779"/>
              <a:gd name="connsiteY87" fmla="*/ 162726 h 606580"/>
              <a:gd name="connsiteX88" fmla="*/ 93045 w 572779"/>
              <a:gd name="connsiteY88" fmla="*/ 160472 h 606580"/>
              <a:gd name="connsiteX89" fmla="*/ 93103 w 572779"/>
              <a:gd name="connsiteY89" fmla="*/ 160472 h 606580"/>
              <a:gd name="connsiteX90" fmla="*/ 92987 w 572779"/>
              <a:gd name="connsiteY90" fmla="*/ 160183 h 606580"/>
              <a:gd name="connsiteX91" fmla="*/ 457411 w 572779"/>
              <a:gd name="connsiteY91" fmla="*/ 751 h 606580"/>
              <a:gd name="connsiteX92" fmla="*/ 458047 w 572779"/>
              <a:gd name="connsiteY92" fmla="*/ 751 h 606580"/>
              <a:gd name="connsiteX93" fmla="*/ 521621 w 572779"/>
              <a:gd name="connsiteY93" fmla="*/ 49915 h 606580"/>
              <a:gd name="connsiteX94" fmla="*/ 523761 w 572779"/>
              <a:gd name="connsiteY94" fmla="*/ 66553 h 606580"/>
              <a:gd name="connsiteX95" fmla="*/ 458105 w 572779"/>
              <a:gd name="connsiteY95" fmla="*/ 132124 h 606580"/>
              <a:gd name="connsiteX96" fmla="*/ 457469 w 572779"/>
              <a:gd name="connsiteY96" fmla="*/ 132124 h 606580"/>
              <a:gd name="connsiteX97" fmla="*/ 393895 w 572779"/>
              <a:gd name="connsiteY97" fmla="*/ 82960 h 606580"/>
              <a:gd name="connsiteX98" fmla="*/ 391755 w 572779"/>
              <a:gd name="connsiteY98" fmla="*/ 66322 h 606580"/>
              <a:gd name="connsiteX99" fmla="*/ 457411 w 572779"/>
              <a:gd name="connsiteY99" fmla="*/ 751 h 606580"/>
              <a:gd name="connsiteX100" fmla="*/ 285868 w 572779"/>
              <a:gd name="connsiteY100" fmla="*/ 751 h 606580"/>
              <a:gd name="connsiteX101" fmla="*/ 286621 w 572779"/>
              <a:gd name="connsiteY101" fmla="*/ 751 h 606580"/>
              <a:gd name="connsiteX102" fmla="*/ 350227 w 572779"/>
              <a:gd name="connsiteY102" fmla="*/ 49915 h 606580"/>
              <a:gd name="connsiteX103" fmla="*/ 352369 w 572779"/>
              <a:gd name="connsiteY103" fmla="*/ 66553 h 606580"/>
              <a:gd name="connsiteX104" fmla="*/ 286736 w 572779"/>
              <a:gd name="connsiteY104" fmla="*/ 132124 h 606580"/>
              <a:gd name="connsiteX105" fmla="*/ 286100 w 572779"/>
              <a:gd name="connsiteY105" fmla="*/ 132124 h 606580"/>
              <a:gd name="connsiteX106" fmla="*/ 222493 w 572779"/>
              <a:gd name="connsiteY106" fmla="*/ 82845 h 606580"/>
              <a:gd name="connsiteX107" fmla="*/ 220351 w 572779"/>
              <a:gd name="connsiteY107" fmla="*/ 66264 h 606580"/>
              <a:gd name="connsiteX108" fmla="*/ 285868 w 572779"/>
              <a:gd name="connsiteY108" fmla="*/ 751 h 606580"/>
              <a:gd name="connsiteX109" fmla="*/ 114639 w 572779"/>
              <a:gd name="connsiteY109" fmla="*/ 751 h 606580"/>
              <a:gd name="connsiteX110" fmla="*/ 115275 w 572779"/>
              <a:gd name="connsiteY110" fmla="*/ 751 h 606580"/>
              <a:gd name="connsiteX111" fmla="*/ 178882 w 572779"/>
              <a:gd name="connsiteY111" fmla="*/ 49915 h 606580"/>
              <a:gd name="connsiteX112" fmla="*/ 181024 w 572779"/>
              <a:gd name="connsiteY112" fmla="*/ 66553 h 606580"/>
              <a:gd name="connsiteX113" fmla="*/ 115333 w 572779"/>
              <a:gd name="connsiteY113" fmla="*/ 132124 h 606580"/>
              <a:gd name="connsiteX114" fmla="*/ 114754 w 572779"/>
              <a:gd name="connsiteY114" fmla="*/ 132124 h 606580"/>
              <a:gd name="connsiteX115" fmla="*/ 51148 w 572779"/>
              <a:gd name="connsiteY115" fmla="*/ 82960 h 606580"/>
              <a:gd name="connsiteX116" fmla="*/ 49006 w 572779"/>
              <a:gd name="connsiteY116" fmla="*/ 66322 h 606580"/>
              <a:gd name="connsiteX117" fmla="*/ 114639 w 572779"/>
              <a:gd name="connsiteY117" fmla="*/ 751 h 606580"/>
              <a:gd name="connsiteX118" fmla="*/ 457410 w 572779"/>
              <a:gd name="connsiteY118" fmla="*/ 423 h 606580"/>
              <a:gd name="connsiteX119" fmla="*/ 391355 w 572779"/>
              <a:gd name="connsiteY119" fmla="*/ 66356 h 606580"/>
              <a:gd name="connsiteX120" fmla="*/ 393497 w 572779"/>
              <a:gd name="connsiteY120" fmla="*/ 83056 h 606580"/>
              <a:gd name="connsiteX121" fmla="*/ 457468 w 572779"/>
              <a:gd name="connsiteY121" fmla="*/ 132521 h 606580"/>
              <a:gd name="connsiteX122" fmla="*/ 457815 w 572779"/>
              <a:gd name="connsiteY122" fmla="*/ 132521 h 606580"/>
              <a:gd name="connsiteX123" fmla="*/ 458104 w 572779"/>
              <a:gd name="connsiteY123" fmla="*/ 132521 h 606580"/>
              <a:gd name="connsiteX124" fmla="*/ 524159 w 572779"/>
              <a:gd name="connsiteY124" fmla="*/ 66587 h 606580"/>
              <a:gd name="connsiteX125" fmla="*/ 522017 w 572779"/>
              <a:gd name="connsiteY125" fmla="*/ 49887 h 606580"/>
              <a:gd name="connsiteX126" fmla="*/ 458046 w 572779"/>
              <a:gd name="connsiteY126" fmla="*/ 423 h 606580"/>
              <a:gd name="connsiteX127" fmla="*/ 457699 w 572779"/>
              <a:gd name="connsiteY127" fmla="*/ 423 h 606580"/>
              <a:gd name="connsiteX128" fmla="*/ 114646 w 572779"/>
              <a:gd name="connsiteY128" fmla="*/ 423 h 606580"/>
              <a:gd name="connsiteX129" fmla="*/ 48620 w 572779"/>
              <a:gd name="connsiteY129" fmla="*/ 66356 h 606580"/>
              <a:gd name="connsiteX130" fmla="*/ 50761 w 572779"/>
              <a:gd name="connsiteY130" fmla="*/ 83056 h 606580"/>
              <a:gd name="connsiteX131" fmla="*/ 114762 w 572779"/>
              <a:gd name="connsiteY131" fmla="*/ 132521 h 606580"/>
              <a:gd name="connsiteX132" fmla="*/ 115051 w 572779"/>
              <a:gd name="connsiteY132" fmla="*/ 132521 h 606580"/>
              <a:gd name="connsiteX133" fmla="*/ 115340 w 572779"/>
              <a:gd name="connsiteY133" fmla="*/ 132521 h 606580"/>
              <a:gd name="connsiteX134" fmla="*/ 181424 w 572779"/>
              <a:gd name="connsiteY134" fmla="*/ 66587 h 606580"/>
              <a:gd name="connsiteX135" fmla="*/ 179225 w 572779"/>
              <a:gd name="connsiteY135" fmla="*/ 49887 h 606580"/>
              <a:gd name="connsiteX136" fmla="*/ 115282 w 572779"/>
              <a:gd name="connsiteY136" fmla="*/ 423 h 606580"/>
              <a:gd name="connsiteX137" fmla="*/ 114993 w 572779"/>
              <a:gd name="connsiteY137" fmla="*/ 423 h 606580"/>
              <a:gd name="connsiteX138" fmla="*/ 286036 w 572779"/>
              <a:gd name="connsiteY138" fmla="*/ 397 h 606580"/>
              <a:gd name="connsiteX139" fmla="*/ 219952 w 572779"/>
              <a:gd name="connsiteY139" fmla="*/ 66286 h 606580"/>
              <a:gd name="connsiteX140" fmla="*/ 222151 w 572779"/>
              <a:gd name="connsiteY140" fmla="*/ 82990 h 606580"/>
              <a:gd name="connsiteX141" fmla="*/ 286094 w 572779"/>
              <a:gd name="connsiteY141" fmla="*/ 132522 h 606580"/>
              <a:gd name="connsiteX142" fmla="*/ 286383 w 572779"/>
              <a:gd name="connsiteY142" fmla="*/ 132522 h 606580"/>
              <a:gd name="connsiteX143" fmla="*/ 286730 w 572779"/>
              <a:gd name="connsiteY143" fmla="*/ 132522 h 606580"/>
              <a:gd name="connsiteX144" fmla="*/ 352756 w 572779"/>
              <a:gd name="connsiteY144" fmla="*/ 66575 h 606580"/>
              <a:gd name="connsiteX145" fmla="*/ 350615 w 572779"/>
              <a:gd name="connsiteY145" fmla="*/ 49872 h 606580"/>
              <a:gd name="connsiteX146" fmla="*/ 286614 w 572779"/>
              <a:gd name="connsiteY146" fmla="*/ 397 h 606580"/>
              <a:gd name="connsiteX147" fmla="*/ 286325 w 572779"/>
              <a:gd name="connsiteY147" fmla="*/ 397 h 606580"/>
              <a:gd name="connsiteX148" fmla="*/ 457411 w 572779"/>
              <a:gd name="connsiteY148" fmla="*/ 0 h 606580"/>
              <a:gd name="connsiteX149" fmla="*/ 458047 w 572779"/>
              <a:gd name="connsiteY149" fmla="*/ 0 h 606580"/>
              <a:gd name="connsiteX150" fmla="*/ 522315 w 572779"/>
              <a:gd name="connsiteY150" fmla="*/ 49741 h 606580"/>
              <a:gd name="connsiteX151" fmla="*/ 524513 w 572779"/>
              <a:gd name="connsiteY151" fmla="*/ 66553 h 606580"/>
              <a:gd name="connsiteX152" fmla="*/ 458105 w 572779"/>
              <a:gd name="connsiteY152" fmla="*/ 132875 h 606580"/>
              <a:gd name="connsiteX153" fmla="*/ 457469 w 572779"/>
              <a:gd name="connsiteY153" fmla="*/ 132875 h 606580"/>
              <a:gd name="connsiteX154" fmla="*/ 393201 w 572779"/>
              <a:gd name="connsiteY154" fmla="*/ 83133 h 606580"/>
              <a:gd name="connsiteX155" fmla="*/ 391003 w 572779"/>
              <a:gd name="connsiteY155" fmla="*/ 66322 h 606580"/>
              <a:gd name="connsiteX156" fmla="*/ 457411 w 572779"/>
              <a:gd name="connsiteY156" fmla="*/ 0 h 606580"/>
              <a:gd name="connsiteX157" fmla="*/ 285868 w 572779"/>
              <a:gd name="connsiteY157" fmla="*/ 0 h 606580"/>
              <a:gd name="connsiteX158" fmla="*/ 286621 w 572779"/>
              <a:gd name="connsiteY158" fmla="*/ 0 h 606580"/>
              <a:gd name="connsiteX159" fmla="*/ 350980 w 572779"/>
              <a:gd name="connsiteY159" fmla="*/ 49741 h 606580"/>
              <a:gd name="connsiteX160" fmla="*/ 353179 w 572779"/>
              <a:gd name="connsiteY160" fmla="*/ 66553 h 606580"/>
              <a:gd name="connsiteX161" fmla="*/ 286736 w 572779"/>
              <a:gd name="connsiteY161" fmla="*/ 132875 h 606580"/>
              <a:gd name="connsiteX162" fmla="*/ 286100 w 572779"/>
              <a:gd name="connsiteY162" fmla="*/ 132875 h 606580"/>
              <a:gd name="connsiteX163" fmla="*/ 221740 w 572779"/>
              <a:gd name="connsiteY163" fmla="*/ 83076 h 606580"/>
              <a:gd name="connsiteX164" fmla="*/ 219599 w 572779"/>
              <a:gd name="connsiteY164" fmla="*/ 66264 h 606580"/>
              <a:gd name="connsiteX165" fmla="*/ 285868 w 572779"/>
              <a:gd name="connsiteY165" fmla="*/ 0 h 606580"/>
              <a:gd name="connsiteX166" fmla="*/ 114639 w 572779"/>
              <a:gd name="connsiteY166" fmla="*/ 0 h 606580"/>
              <a:gd name="connsiteX167" fmla="*/ 115275 w 572779"/>
              <a:gd name="connsiteY167" fmla="*/ 0 h 606580"/>
              <a:gd name="connsiteX168" fmla="*/ 179635 w 572779"/>
              <a:gd name="connsiteY168" fmla="*/ 49741 h 606580"/>
              <a:gd name="connsiteX169" fmla="*/ 181776 w 572779"/>
              <a:gd name="connsiteY169" fmla="*/ 66553 h 606580"/>
              <a:gd name="connsiteX170" fmla="*/ 115333 w 572779"/>
              <a:gd name="connsiteY170" fmla="*/ 132875 h 606580"/>
              <a:gd name="connsiteX171" fmla="*/ 114754 w 572779"/>
              <a:gd name="connsiteY171" fmla="*/ 132875 h 606580"/>
              <a:gd name="connsiteX172" fmla="*/ 50395 w 572779"/>
              <a:gd name="connsiteY172" fmla="*/ 83133 h 606580"/>
              <a:gd name="connsiteX173" fmla="*/ 48196 w 572779"/>
              <a:gd name="connsiteY173" fmla="*/ 66322 h 606580"/>
              <a:gd name="connsiteX174" fmla="*/ 114639 w 572779"/>
              <a:gd name="connsiteY174" fmla="*/ 0 h 606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572779" h="606580">
                <a:moveTo>
                  <a:pt x="435703" y="160183"/>
                </a:moveTo>
                <a:lnTo>
                  <a:pt x="479697" y="160183"/>
                </a:lnTo>
                <a:cubicBezTo>
                  <a:pt x="479639" y="160241"/>
                  <a:pt x="479639" y="160414"/>
                  <a:pt x="479581" y="160472"/>
                </a:cubicBezTo>
                <a:lnTo>
                  <a:pt x="479812" y="160472"/>
                </a:lnTo>
                <a:cubicBezTo>
                  <a:pt x="479407" y="161281"/>
                  <a:pt x="478713" y="162726"/>
                  <a:pt x="478713" y="162726"/>
                </a:cubicBezTo>
                <a:cubicBezTo>
                  <a:pt x="474834" y="170989"/>
                  <a:pt x="471245" y="178848"/>
                  <a:pt x="469682" y="187227"/>
                </a:cubicBezTo>
                <a:lnTo>
                  <a:pt x="474776" y="242470"/>
                </a:lnTo>
                <a:lnTo>
                  <a:pt x="494284" y="242470"/>
                </a:lnTo>
                <a:lnTo>
                  <a:pt x="510840" y="160183"/>
                </a:lnTo>
                <a:lnTo>
                  <a:pt x="527338" y="160183"/>
                </a:lnTo>
                <a:cubicBezTo>
                  <a:pt x="552345" y="160183"/>
                  <a:pt x="572663" y="180466"/>
                  <a:pt x="572779" y="205430"/>
                </a:cubicBezTo>
                <a:lnTo>
                  <a:pt x="572779" y="337413"/>
                </a:lnTo>
                <a:cubicBezTo>
                  <a:pt x="572779" y="362434"/>
                  <a:pt x="552519" y="382717"/>
                  <a:pt x="527396" y="382717"/>
                </a:cubicBezTo>
                <a:lnTo>
                  <a:pt x="521607" y="382717"/>
                </a:lnTo>
                <a:lnTo>
                  <a:pt x="521607" y="574624"/>
                </a:lnTo>
                <a:cubicBezTo>
                  <a:pt x="521607" y="592249"/>
                  <a:pt x="507251" y="606580"/>
                  <a:pt x="489595" y="606580"/>
                </a:cubicBezTo>
                <a:cubicBezTo>
                  <a:pt x="473155" y="606580"/>
                  <a:pt x="459552" y="594098"/>
                  <a:pt x="457815" y="578149"/>
                </a:cubicBezTo>
                <a:cubicBezTo>
                  <a:pt x="456021" y="594214"/>
                  <a:pt x="442417" y="606580"/>
                  <a:pt x="425978" y="606580"/>
                </a:cubicBezTo>
                <a:cubicBezTo>
                  <a:pt x="408322" y="606580"/>
                  <a:pt x="393966" y="592249"/>
                  <a:pt x="393966" y="574624"/>
                </a:cubicBezTo>
                <a:lnTo>
                  <a:pt x="393966" y="392541"/>
                </a:lnTo>
                <a:cubicBezTo>
                  <a:pt x="411506" y="380521"/>
                  <a:pt x="422967" y="360354"/>
                  <a:pt x="422967" y="337528"/>
                </a:cubicBezTo>
                <a:lnTo>
                  <a:pt x="422967" y="242528"/>
                </a:lnTo>
                <a:lnTo>
                  <a:pt x="440739" y="242528"/>
                </a:lnTo>
                <a:lnTo>
                  <a:pt x="445833" y="186996"/>
                </a:lnTo>
                <a:cubicBezTo>
                  <a:pt x="445659" y="186013"/>
                  <a:pt x="445428" y="184973"/>
                  <a:pt x="445196" y="183991"/>
                </a:cubicBezTo>
                <a:cubicBezTo>
                  <a:pt x="443459" y="176768"/>
                  <a:pt x="440276" y="169891"/>
                  <a:pt x="436860" y="162726"/>
                </a:cubicBezTo>
                <a:cubicBezTo>
                  <a:pt x="436860" y="162726"/>
                  <a:pt x="436166" y="161281"/>
                  <a:pt x="435818" y="160472"/>
                </a:cubicBezTo>
                <a:lnTo>
                  <a:pt x="435876" y="160472"/>
                </a:lnTo>
                <a:cubicBezTo>
                  <a:pt x="435818" y="160356"/>
                  <a:pt x="435818" y="160241"/>
                  <a:pt x="435703" y="160183"/>
                </a:cubicBezTo>
                <a:close/>
                <a:moveTo>
                  <a:pt x="264349" y="160183"/>
                </a:moveTo>
                <a:lnTo>
                  <a:pt x="308327" y="160183"/>
                </a:lnTo>
                <a:cubicBezTo>
                  <a:pt x="308269" y="160241"/>
                  <a:pt x="308269" y="160414"/>
                  <a:pt x="308154" y="160472"/>
                </a:cubicBezTo>
                <a:lnTo>
                  <a:pt x="308385" y="160472"/>
                </a:lnTo>
                <a:cubicBezTo>
                  <a:pt x="308038" y="161281"/>
                  <a:pt x="307344" y="162726"/>
                  <a:pt x="307344" y="162726"/>
                </a:cubicBezTo>
                <a:cubicBezTo>
                  <a:pt x="303467" y="170989"/>
                  <a:pt x="299821" y="178848"/>
                  <a:pt x="298316" y="187227"/>
                </a:cubicBezTo>
                <a:lnTo>
                  <a:pt x="303409" y="242470"/>
                </a:lnTo>
                <a:lnTo>
                  <a:pt x="322910" y="242470"/>
                </a:lnTo>
                <a:lnTo>
                  <a:pt x="339401" y="160183"/>
                </a:lnTo>
                <a:lnTo>
                  <a:pt x="355951" y="160183"/>
                </a:lnTo>
                <a:cubicBezTo>
                  <a:pt x="380949" y="160183"/>
                  <a:pt x="401202" y="180466"/>
                  <a:pt x="401376" y="205430"/>
                </a:cubicBezTo>
                <a:lnTo>
                  <a:pt x="401376" y="337413"/>
                </a:lnTo>
                <a:cubicBezTo>
                  <a:pt x="401376" y="362434"/>
                  <a:pt x="381065" y="382717"/>
                  <a:pt x="356009" y="382717"/>
                </a:cubicBezTo>
                <a:lnTo>
                  <a:pt x="350222" y="382717"/>
                </a:lnTo>
                <a:lnTo>
                  <a:pt x="350222" y="574624"/>
                </a:lnTo>
                <a:cubicBezTo>
                  <a:pt x="350222" y="592249"/>
                  <a:pt x="335872" y="606580"/>
                  <a:pt x="318222" y="606580"/>
                </a:cubicBezTo>
                <a:cubicBezTo>
                  <a:pt x="301788" y="606580"/>
                  <a:pt x="288190" y="594098"/>
                  <a:pt x="286396" y="578149"/>
                </a:cubicBezTo>
                <a:cubicBezTo>
                  <a:pt x="284660" y="594214"/>
                  <a:pt x="271062" y="606580"/>
                  <a:pt x="254628" y="606580"/>
                </a:cubicBezTo>
                <a:cubicBezTo>
                  <a:pt x="236978" y="606580"/>
                  <a:pt x="222628" y="592249"/>
                  <a:pt x="222628" y="574624"/>
                </a:cubicBezTo>
                <a:lnTo>
                  <a:pt x="222628" y="382833"/>
                </a:lnTo>
                <a:lnTo>
                  <a:pt x="216841" y="382833"/>
                </a:lnTo>
                <a:cubicBezTo>
                  <a:pt x="191727" y="382833"/>
                  <a:pt x="171474" y="362608"/>
                  <a:pt x="171474" y="337528"/>
                </a:cubicBezTo>
                <a:lnTo>
                  <a:pt x="171474" y="205545"/>
                </a:lnTo>
                <a:cubicBezTo>
                  <a:pt x="171474" y="180524"/>
                  <a:pt x="191727" y="160241"/>
                  <a:pt x="216841" y="160241"/>
                </a:cubicBezTo>
                <a:lnTo>
                  <a:pt x="233333" y="160241"/>
                </a:lnTo>
                <a:lnTo>
                  <a:pt x="249825" y="242528"/>
                </a:lnTo>
                <a:lnTo>
                  <a:pt x="269383" y="242528"/>
                </a:lnTo>
                <a:lnTo>
                  <a:pt x="274476" y="186996"/>
                </a:lnTo>
                <a:cubicBezTo>
                  <a:pt x="274302" y="186013"/>
                  <a:pt x="274071" y="184973"/>
                  <a:pt x="273839" y="183991"/>
                </a:cubicBezTo>
                <a:cubicBezTo>
                  <a:pt x="272045" y="176768"/>
                  <a:pt x="268921" y="169891"/>
                  <a:pt x="265506" y="162726"/>
                </a:cubicBezTo>
                <a:cubicBezTo>
                  <a:pt x="265506" y="162726"/>
                  <a:pt x="264812" y="161281"/>
                  <a:pt x="264407" y="160472"/>
                </a:cubicBezTo>
                <a:lnTo>
                  <a:pt x="264523" y="160472"/>
                </a:lnTo>
                <a:cubicBezTo>
                  <a:pt x="264407" y="160356"/>
                  <a:pt x="264407" y="160241"/>
                  <a:pt x="264349" y="160183"/>
                </a:cubicBezTo>
                <a:close/>
                <a:moveTo>
                  <a:pt x="92987" y="160183"/>
                </a:moveTo>
                <a:lnTo>
                  <a:pt x="136964" y="160183"/>
                </a:lnTo>
                <a:cubicBezTo>
                  <a:pt x="136848" y="160241"/>
                  <a:pt x="136848" y="160414"/>
                  <a:pt x="136791" y="160472"/>
                </a:cubicBezTo>
                <a:lnTo>
                  <a:pt x="137022" y="160472"/>
                </a:lnTo>
                <a:cubicBezTo>
                  <a:pt x="136617" y="161281"/>
                  <a:pt x="135923" y="162726"/>
                  <a:pt x="135923" y="162726"/>
                </a:cubicBezTo>
                <a:cubicBezTo>
                  <a:pt x="132104" y="170989"/>
                  <a:pt x="128458" y="178848"/>
                  <a:pt x="126896" y="187227"/>
                </a:cubicBezTo>
                <a:lnTo>
                  <a:pt x="131988" y="242470"/>
                </a:lnTo>
                <a:lnTo>
                  <a:pt x="149752" y="242470"/>
                </a:lnTo>
                <a:lnTo>
                  <a:pt x="149752" y="337471"/>
                </a:lnTo>
                <a:cubicBezTo>
                  <a:pt x="149752" y="360296"/>
                  <a:pt x="161267" y="380406"/>
                  <a:pt x="178742" y="392483"/>
                </a:cubicBezTo>
                <a:lnTo>
                  <a:pt x="178742" y="574624"/>
                </a:lnTo>
                <a:cubicBezTo>
                  <a:pt x="178742" y="592249"/>
                  <a:pt x="164392" y="606580"/>
                  <a:pt x="146743" y="606580"/>
                </a:cubicBezTo>
                <a:cubicBezTo>
                  <a:pt x="130310" y="606580"/>
                  <a:pt x="116712" y="594098"/>
                  <a:pt x="114976" y="578149"/>
                </a:cubicBezTo>
                <a:cubicBezTo>
                  <a:pt x="113182" y="594214"/>
                  <a:pt x="99584" y="606580"/>
                  <a:pt x="83151" y="606580"/>
                </a:cubicBezTo>
                <a:cubicBezTo>
                  <a:pt x="65502" y="606580"/>
                  <a:pt x="51152" y="592249"/>
                  <a:pt x="51152" y="574624"/>
                </a:cubicBezTo>
                <a:lnTo>
                  <a:pt x="51152" y="382833"/>
                </a:lnTo>
                <a:lnTo>
                  <a:pt x="45365" y="382833"/>
                </a:lnTo>
                <a:cubicBezTo>
                  <a:pt x="20310" y="382833"/>
                  <a:pt x="0" y="362608"/>
                  <a:pt x="0" y="337528"/>
                </a:cubicBezTo>
                <a:lnTo>
                  <a:pt x="0" y="205545"/>
                </a:lnTo>
                <a:cubicBezTo>
                  <a:pt x="0" y="180524"/>
                  <a:pt x="20310" y="160241"/>
                  <a:pt x="45365" y="160241"/>
                </a:cubicBezTo>
                <a:lnTo>
                  <a:pt x="61972" y="160241"/>
                </a:lnTo>
                <a:lnTo>
                  <a:pt x="78464" y="242528"/>
                </a:lnTo>
                <a:lnTo>
                  <a:pt x="97964" y="242528"/>
                </a:lnTo>
                <a:lnTo>
                  <a:pt x="103056" y="186996"/>
                </a:lnTo>
                <a:cubicBezTo>
                  <a:pt x="102940" y="186013"/>
                  <a:pt x="102709" y="184973"/>
                  <a:pt x="102477" y="183991"/>
                </a:cubicBezTo>
                <a:cubicBezTo>
                  <a:pt x="100683" y="176768"/>
                  <a:pt x="97501" y="169891"/>
                  <a:pt x="94145" y="162726"/>
                </a:cubicBezTo>
                <a:cubicBezTo>
                  <a:pt x="94145" y="162726"/>
                  <a:pt x="93450" y="161281"/>
                  <a:pt x="93045" y="160472"/>
                </a:cubicBezTo>
                <a:lnTo>
                  <a:pt x="93103" y="160472"/>
                </a:lnTo>
                <a:cubicBezTo>
                  <a:pt x="93045" y="160356"/>
                  <a:pt x="93045" y="160241"/>
                  <a:pt x="92987" y="160183"/>
                </a:cubicBezTo>
                <a:close/>
                <a:moveTo>
                  <a:pt x="457411" y="751"/>
                </a:moveTo>
                <a:lnTo>
                  <a:pt x="458047" y="751"/>
                </a:lnTo>
                <a:cubicBezTo>
                  <a:pt x="488012" y="751"/>
                  <a:pt x="514158" y="20971"/>
                  <a:pt x="521621" y="49915"/>
                </a:cubicBezTo>
                <a:cubicBezTo>
                  <a:pt x="523009" y="55403"/>
                  <a:pt x="523761" y="61007"/>
                  <a:pt x="523761" y="66553"/>
                </a:cubicBezTo>
                <a:cubicBezTo>
                  <a:pt x="523761" y="102718"/>
                  <a:pt x="494317" y="132124"/>
                  <a:pt x="458105" y="132124"/>
                </a:cubicBezTo>
                <a:lnTo>
                  <a:pt x="457469" y="132124"/>
                </a:lnTo>
                <a:cubicBezTo>
                  <a:pt x="427504" y="132124"/>
                  <a:pt x="401358" y="111904"/>
                  <a:pt x="393895" y="82960"/>
                </a:cubicBezTo>
                <a:cubicBezTo>
                  <a:pt x="392507" y="77472"/>
                  <a:pt x="391755" y="71868"/>
                  <a:pt x="391755" y="66322"/>
                </a:cubicBezTo>
                <a:cubicBezTo>
                  <a:pt x="391755" y="30157"/>
                  <a:pt x="421199" y="751"/>
                  <a:pt x="457411" y="751"/>
                </a:cubicBezTo>
                <a:close/>
                <a:moveTo>
                  <a:pt x="285868" y="751"/>
                </a:moveTo>
                <a:lnTo>
                  <a:pt x="286621" y="751"/>
                </a:lnTo>
                <a:cubicBezTo>
                  <a:pt x="316601" y="751"/>
                  <a:pt x="342761" y="20971"/>
                  <a:pt x="350227" y="49915"/>
                </a:cubicBezTo>
                <a:cubicBezTo>
                  <a:pt x="351674" y="55403"/>
                  <a:pt x="352369" y="61007"/>
                  <a:pt x="352369" y="66553"/>
                </a:cubicBezTo>
                <a:cubicBezTo>
                  <a:pt x="352369" y="102718"/>
                  <a:pt x="322909" y="132124"/>
                  <a:pt x="286736" y="132124"/>
                </a:cubicBezTo>
                <a:lnTo>
                  <a:pt x="286100" y="132124"/>
                </a:lnTo>
                <a:cubicBezTo>
                  <a:pt x="256119" y="132124"/>
                  <a:pt x="229959" y="111846"/>
                  <a:pt x="222493" y="82845"/>
                </a:cubicBezTo>
                <a:cubicBezTo>
                  <a:pt x="221046" y="77414"/>
                  <a:pt x="220351" y="71810"/>
                  <a:pt x="220351" y="66264"/>
                </a:cubicBezTo>
                <a:cubicBezTo>
                  <a:pt x="220351" y="30157"/>
                  <a:pt x="249753" y="751"/>
                  <a:pt x="285868" y="751"/>
                </a:cubicBezTo>
                <a:close/>
                <a:moveTo>
                  <a:pt x="114639" y="751"/>
                </a:moveTo>
                <a:lnTo>
                  <a:pt x="115275" y="751"/>
                </a:lnTo>
                <a:cubicBezTo>
                  <a:pt x="145256" y="751"/>
                  <a:pt x="171416" y="20971"/>
                  <a:pt x="178882" y="49915"/>
                </a:cubicBezTo>
                <a:cubicBezTo>
                  <a:pt x="180329" y="55403"/>
                  <a:pt x="181024" y="61007"/>
                  <a:pt x="181024" y="66553"/>
                </a:cubicBezTo>
                <a:cubicBezTo>
                  <a:pt x="181024" y="102718"/>
                  <a:pt x="151564" y="132124"/>
                  <a:pt x="115333" y="132124"/>
                </a:cubicBezTo>
                <a:lnTo>
                  <a:pt x="114754" y="132124"/>
                </a:lnTo>
                <a:cubicBezTo>
                  <a:pt x="84774" y="132124"/>
                  <a:pt x="58614" y="111904"/>
                  <a:pt x="51148" y="82960"/>
                </a:cubicBezTo>
                <a:cubicBezTo>
                  <a:pt x="49701" y="77472"/>
                  <a:pt x="49006" y="71868"/>
                  <a:pt x="49006" y="66322"/>
                </a:cubicBezTo>
                <a:cubicBezTo>
                  <a:pt x="49006" y="30157"/>
                  <a:pt x="78466" y="751"/>
                  <a:pt x="114639" y="751"/>
                </a:cubicBezTo>
                <a:close/>
                <a:moveTo>
                  <a:pt x="457410" y="423"/>
                </a:moveTo>
                <a:cubicBezTo>
                  <a:pt x="420880" y="423"/>
                  <a:pt x="391355" y="29894"/>
                  <a:pt x="391355" y="66356"/>
                </a:cubicBezTo>
                <a:cubicBezTo>
                  <a:pt x="391355" y="72135"/>
                  <a:pt x="392108" y="77740"/>
                  <a:pt x="393497" y="83056"/>
                </a:cubicBezTo>
                <a:cubicBezTo>
                  <a:pt x="400849" y="111487"/>
                  <a:pt x="426669" y="132521"/>
                  <a:pt x="457468" y="132521"/>
                </a:cubicBezTo>
                <a:lnTo>
                  <a:pt x="457815" y="132521"/>
                </a:lnTo>
                <a:lnTo>
                  <a:pt x="458104" y="132521"/>
                </a:lnTo>
                <a:cubicBezTo>
                  <a:pt x="494634" y="132521"/>
                  <a:pt x="524159" y="103050"/>
                  <a:pt x="524159" y="66587"/>
                </a:cubicBezTo>
                <a:cubicBezTo>
                  <a:pt x="524159" y="60809"/>
                  <a:pt x="523406" y="55204"/>
                  <a:pt x="522017" y="49887"/>
                </a:cubicBezTo>
                <a:cubicBezTo>
                  <a:pt x="514665" y="21457"/>
                  <a:pt x="488845" y="423"/>
                  <a:pt x="458046" y="423"/>
                </a:cubicBezTo>
                <a:lnTo>
                  <a:pt x="457699" y="423"/>
                </a:lnTo>
                <a:close/>
                <a:moveTo>
                  <a:pt x="114646" y="423"/>
                </a:moveTo>
                <a:cubicBezTo>
                  <a:pt x="78190" y="423"/>
                  <a:pt x="48620" y="29894"/>
                  <a:pt x="48620" y="66356"/>
                </a:cubicBezTo>
                <a:cubicBezTo>
                  <a:pt x="48620" y="72135"/>
                  <a:pt x="49372" y="77740"/>
                  <a:pt x="50761" y="83056"/>
                </a:cubicBezTo>
                <a:cubicBezTo>
                  <a:pt x="58110" y="111487"/>
                  <a:pt x="83977" y="132521"/>
                  <a:pt x="114762" y="132521"/>
                </a:cubicBezTo>
                <a:lnTo>
                  <a:pt x="115051" y="132521"/>
                </a:lnTo>
                <a:lnTo>
                  <a:pt x="115340" y="132521"/>
                </a:lnTo>
                <a:cubicBezTo>
                  <a:pt x="151854" y="132521"/>
                  <a:pt x="181424" y="103050"/>
                  <a:pt x="181424" y="66587"/>
                </a:cubicBezTo>
                <a:cubicBezTo>
                  <a:pt x="181424" y="60809"/>
                  <a:pt x="180614" y="55204"/>
                  <a:pt x="179225" y="49887"/>
                </a:cubicBezTo>
                <a:cubicBezTo>
                  <a:pt x="171934" y="21457"/>
                  <a:pt x="146067" y="423"/>
                  <a:pt x="115282" y="423"/>
                </a:cubicBezTo>
                <a:lnTo>
                  <a:pt x="114993" y="423"/>
                </a:lnTo>
                <a:close/>
                <a:moveTo>
                  <a:pt x="286036" y="397"/>
                </a:moveTo>
                <a:cubicBezTo>
                  <a:pt x="249522" y="282"/>
                  <a:pt x="219952" y="29874"/>
                  <a:pt x="219952" y="66286"/>
                </a:cubicBezTo>
                <a:cubicBezTo>
                  <a:pt x="219952" y="72066"/>
                  <a:pt x="220762" y="77672"/>
                  <a:pt x="222151" y="82990"/>
                </a:cubicBezTo>
                <a:cubicBezTo>
                  <a:pt x="229442" y="111484"/>
                  <a:pt x="255309" y="132522"/>
                  <a:pt x="286094" y="132522"/>
                </a:cubicBezTo>
                <a:lnTo>
                  <a:pt x="286383" y="132522"/>
                </a:lnTo>
                <a:lnTo>
                  <a:pt x="286730" y="132522"/>
                </a:lnTo>
                <a:cubicBezTo>
                  <a:pt x="323186" y="132522"/>
                  <a:pt x="352756" y="103045"/>
                  <a:pt x="352756" y="66575"/>
                </a:cubicBezTo>
                <a:cubicBezTo>
                  <a:pt x="352756" y="60796"/>
                  <a:pt x="352004" y="55189"/>
                  <a:pt x="350615" y="49872"/>
                </a:cubicBezTo>
                <a:cubicBezTo>
                  <a:pt x="343266" y="21436"/>
                  <a:pt x="317399" y="397"/>
                  <a:pt x="286614" y="397"/>
                </a:cubicBezTo>
                <a:lnTo>
                  <a:pt x="286325" y="397"/>
                </a:lnTo>
                <a:close/>
                <a:moveTo>
                  <a:pt x="457411" y="0"/>
                </a:moveTo>
                <a:lnTo>
                  <a:pt x="458047" y="0"/>
                </a:lnTo>
                <a:cubicBezTo>
                  <a:pt x="488359" y="0"/>
                  <a:pt x="514795" y="20451"/>
                  <a:pt x="522315" y="49741"/>
                </a:cubicBezTo>
                <a:cubicBezTo>
                  <a:pt x="523761" y="55230"/>
                  <a:pt x="524513" y="60891"/>
                  <a:pt x="524513" y="66553"/>
                </a:cubicBezTo>
                <a:cubicBezTo>
                  <a:pt x="524513" y="103122"/>
                  <a:pt x="494722" y="132875"/>
                  <a:pt x="458105" y="132875"/>
                </a:cubicBezTo>
                <a:lnTo>
                  <a:pt x="457469" y="132875"/>
                </a:lnTo>
                <a:cubicBezTo>
                  <a:pt x="427157" y="132875"/>
                  <a:pt x="400721" y="112424"/>
                  <a:pt x="393201" y="83133"/>
                </a:cubicBezTo>
                <a:cubicBezTo>
                  <a:pt x="391755" y="77645"/>
                  <a:pt x="391003" y="71983"/>
                  <a:pt x="391003" y="66322"/>
                </a:cubicBezTo>
                <a:cubicBezTo>
                  <a:pt x="391003" y="29752"/>
                  <a:pt x="420794" y="0"/>
                  <a:pt x="457411" y="0"/>
                </a:cubicBezTo>
                <a:close/>
                <a:moveTo>
                  <a:pt x="285868" y="0"/>
                </a:moveTo>
                <a:lnTo>
                  <a:pt x="286621" y="0"/>
                </a:lnTo>
                <a:cubicBezTo>
                  <a:pt x="316948" y="0"/>
                  <a:pt x="343456" y="20451"/>
                  <a:pt x="350980" y="49741"/>
                </a:cubicBezTo>
                <a:cubicBezTo>
                  <a:pt x="352427" y="55287"/>
                  <a:pt x="353179" y="60891"/>
                  <a:pt x="353179" y="66553"/>
                </a:cubicBezTo>
                <a:cubicBezTo>
                  <a:pt x="353179" y="103122"/>
                  <a:pt x="323372" y="132875"/>
                  <a:pt x="286736" y="132875"/>
                </a:cubicBezTo>
                <a:lnTo>
                  <a:pt x="286100" y="132875"/>
                </a:lnTo>
                <a:cubicBezTo>
                  <a:pt x="255772" y="132875"/>
                  <a:pt x="229322" y="112366"/>
                  <a:pt x="221740" y="83076"/>
                </a:cubicBezTo>
                <a:cubicBezTo>
                  <a:pt x="220294" y="77530"/>
                  <a:pt x="219599" y="71868"/>
                  <a:pt x="219599" y="66264"/>
                </a:cubicBezTo>
                <a:cubicBezTo>
                  <a:pt x="219599" y="29695"/>
                  <a:pt x="249348" y="0"/>
                  <a:pt x="285868" y="0"/>
                </a:cubicBezTo>
                <a:close/>
                <a:moveTo>
                  <a:pt x="114639" y="0"/>
                </a:moveTo>
                <a:lnTo>
                  <a:pt x="115275" y="0"/>
                </a:lnTo>
                <a:cubicBezTo>
                  <a:pt x="145603" y="0"/>
                  <a:pt x="172053" y="20451"/>
                  <a:pt x="179635" y="49741"/>
                </a:cubicBezTo>
                <a:cubicBezTo>
                  <a:pt x="181081" y="55230"/>
                  <a:pt x="181776" y="60891"/>
                  <a:pt x="181776" y="66553"/>
                </a:cubicBezTo>
                <a:cubicBezTo>
                  <a:pt x="181776" y="103122"/>
                  <a:pt x="151969" y="132875"/>
                  <a:pt x="115333" y="132875"/>
                </a:cubicBezTo>
                <a:lnTo>
                  <a:pt x="114754" y="132875"/>
                </a:lnTo>
                <a:cubicBezTo>
                  <a:pt x="84427" y="132875"/>
                  <a:pt x="57919" y="112424"/>
                  <a:pt x="50395" y="83133"/>
                </a:cubicBezTo>
                <a:cubicBezTo>
                  <a:pt x="48948" y="77645"/>
                  <a:pt x="48196" y="71983"/>
                  <a:pt x="48196" y="66322"/>
                </a:cubicBezTo>
                <a:cubicBezTo>
                  <a:pt x="48196" y="29752"/>
                  <a:pt x="78003" y="0"/>
                  <a:pt x="11463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8" name="圆角矩形 7"/>
          <p:cNvSpPr/>
          <p:nvPr/>
        </p:nvSpPr>
        <p:spPr>
          <a:xfrm>
            <a:off x="5262880" y="2792095"/>
            <a:ext cx="956945" cy="51435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n-cs"/>
              </a:rPr>
              <a:t>不用模型</a:t>
            </a:r>
            <a:endParaRPr kumimoji="0" lang="zh-CN" alt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6663055" y="2792095"/>
            <a:ext cx="956945" cy="51435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n-cs"/>
              </a:rPr>
              <a:t>用模型</a:t>
            </a:r>
            <a:endParaRPr kumimoji="0" lang="zh-CN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448935" y="4008120"/>
            <a:ext cx="666750" cy="2857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sz="1200" dirty="0" smtClean="0"/>
              <a:t>28%</a:t>
            </a:r>
            <a:endParaRPr lang="en-US" altLang="zh-CN" sz="1200" dirty="0" smtClean="0"/>
          </a:p>
        </p:txBody>
      </p:sp>
      <p:sp>
        <p:nvSpPr>
          <p:cNvPr id="12" name="文本框 11"/>
          <p:cNvSpPr txBox="1"/>
          <p:nvPr/>
        </p:nvSpPr>
        <p:spPr>
          <a:xfrm>
            <a:off x="6795770" y="4009390"/>
            <a:ext cx="666750" cy="2857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sz="1200" b="1" dirty="0" smtClean="0">
                <a:solidFill>
                  <a:srgbClr val="F05A23"/>
                </a:solidFill>
              </a:rPr>
              <a:t>50</a:t>
            </a:r>
            <a:r>
              <a:rPr lang="en-US" altLang="zh-CN" sz="1200" dirty="0" smtClean="0"/>
              <a:t>%</a:t>
            </a:r>
            <a:endParaRPr lang="en-US" altLang="zh-CN" sz="1200" dirty="0" smtClean="0"/>
          </a:p>
        </p:txBody>
      </p:sp>
      <p:grpSp>
        <p:nvGrpSpPr>
          <p:cNvPr id="13" name="组合 12"/>
          <p:cNvGrpSpPr/>
          <p:nvPr/>
        </p:nvGrpSpPr>
        <p:grpSpPr>
          <a:xfrm rot="0">
            <a:off x="7061835" y="4712970"/>
            <a:ext cx="263525" cy="263525"/>
            <a:chOff x="5083257" y="4014552"/>
            <a:chExt cx="263316" cy="263315"/>
          </a:xfrm>
        </p:grpSpPr>
        <p:sp>
          <p:nvSpPr>
            <p:cNvPr id="23" name="Freeform 339"/>
            <p:cNvSpPr/>
            <p:nvPr/>
          </p:nvSpPr>
          <p:spPr bwMode="auto">
            <a:xfrm>
              <a:off x="5083257" y="4089785"/>
              <a:ext cx="190869" cy="188082"/>
            </a:xfrm>
            <a:custGeom>
              <a:avLst/>
              <a:gdLst>
                <a:gd name="T0" fmla="*/ 128 w 139"/>
                <a:gd name="T1" fmla="*/ 124 h 137"/>
                <a:gd name="T2" fmla="*/ 127 w 139"/>
                <a:gd name="T3" fmla="*/ 126 h 137"/>
                <a:gd name="T4" fmla="*/ 12 w 139"/>
                <a:gd name="T5" fmla="*/ 126 h 137"/>
                <a:gd name="T6" fmla="*/ 10 w 139"/>
                <a:gd name="T7" fmla="*/ 124 h 137"/>
                <a:gd name="T8" fmla="*/ 10 w 139"/>
                <a:gd name="T9" fmla="*/ 13 h 137"/>
                <a:gd name="T10" fmla="*/ 12 w 139"/>
                <a:gd name="T11" fmla="*/ 11 h 137"/>
                <a:gd name="T12" fmla="*/ 101 w 139"/>
                <a:gd name="T13" fmla="*/ 11 h 137"/>
                <a:gd name="T14" fmla="*/ 108 w 139"/>
                <a:gd name="T15" fmla="*/ 0 h 137"/>
                <a:gd name="T16" fmla="*/ 12 w 139"/>
                <a:gd name="T17" fmla="*/ 0 h 137"/>
                <a:gd name="T18" fmla="*/ 0 w 139"/>
                <a:gd name="T19" fmla="*/ 13 h 137"/>
                <a:gd name="T20" fmla="*/ 0 w 139"/>
                <a:gd name="T21" fmla="*/ 124 h 137"/>
                <a:gd name="T22" fmla="*/ 12 w 139"/>
                <a:gd name="T23" fmla="*/ 137 h 137"/>
                <a:gd name="T24" fmla="*/ 127 w 139"/>
                <a:gd name="T25" fmla="*/ 137 h 137"/>
                <a:gd name="T26" fmla="*/ 139 w 139"/>
                <a:gd name="T27" fmla="*/ 124 h 137"/>
                <a:gd name="T28" fmla="*/ 139 w 139"/>
                <a:gd name="T29" fmla="*/ 23 h 137"/>
                <a:gd name="T30" fmla="*/ 128 w 139"/>
                <a:gd name="T31" fmla="*/ 41 h 137"/>
                <a:gd name="T32" fmla="*/ 128 w 139"/>
                <a:gd name="T33" fmla="*/ 12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7">
                  <a:moveTo>
                    <a:pt x="128" y="124"/>
                  </a:moveTo>
                  <a:cubicBezTo>
                    <a:pt x="128" y="125"/>
                    <a:pt x="128" y="126"/>
                    <a:pt x="127" y="126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1" y="126"/>
                    <a:pt x="10" y="125"/>
                    <a:pt x="10" y="12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2"/>
                    <a:pt x="11" y="11"/>
                    <a:pt x="12" y="11"/>
                  </a:cubicBezTo>
                  <a:cubicBezTo>
                    <a:pt x="101" y="11"/>
                    <a:pt x="101" y="11"/>
                    <a:pt x="101" y="11"/>
                  </a:cubicBezTo>
                  <a:cubicBezTo>
                    <a:pt x="103" y="7"/>
                    <a:pt x="106" y="4"/>
                    <a:pt x="10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6"/>
                    <a:pt x="0" y="13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31"/>
                    <a:pt x="5" y="137"/>
                    <a:pt x="12" y="137"/>
                  </a:cubicBezTo>
                  <a:cubicBezTo>
                    <a:pt x="127" y="137"/>
                    <a:pt x="127" y="137"/>
                    <a:pt x="127" y="137"/>
                  </a:cubicBezTo>
                  <a:cubicBezTo>
                    <a:pt x="134" y="137"/>
                    <a:pt x="139" y="131"/>
                    <a:pt x="139" y="1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5" y="29"/>
                    <a:pt x="132" y="35"/>
                    <a:pt x="128" y="41"/>
                  </a:cubicBezTo>
                  <a:lnTo>
                    <a:pt x="128" y="1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5" name="Freeform 340"/>
            <p:cNvSpPr/>
            <p:nvPr/>
          </p:nvSpPr>
          <p:spPr bwMode="auto">
            <a:xfrm>
              <a:off x="5116694" y="4014552"/>
              <a:ext cx="229879" cy="218733"/>
            </a:xfrm>
            <a:custGeom>
              <a:avLst/>
              <a:gdLst>
                <a:gd name="T0" fmla="*/ 164 w 167"/>
                <a:gd name="T1" fmla="*/ 0 h 159"/>
                <a:gd name="T2" fmla="*/ 150 w 167"/>
                <a:gd name="T3" fmla="*/ 2 h 159"/>
                <a:gd name="T4" fmla="*/ 137 w 167"/>
                <a:gd name="T5" fmla="*/ 4 h 159"/>
                <a:gd name="T6" fmla="*/ 126 w 167"/>
                <a:gd name="T7" fmla="*/ 13 h 159"/>
                <a:gd name="T8" fmla="*/ 103 w 167"/>
                <a:gd name="T9" fmla="*/ 40 h 159"/>
                <a:gd name="T10" fmla="*/ 76 w 167"/>
                <a:gd name="T11" fmla="*/ 81 h 159"/>
                <a:gd name="T12" fmla="*/ 51 w 167"/>
                <a:gd name="T13" fmla="*/ 127 h 159"/>
                <a:gd name="T14" fmla="*/ 33 w 167"/>
                <a:gd name="T15" fmla="*/ 104 h 159"/>
                <a:gd name="T16" fmla="*/ 18 w 167"/>
                <a:gd name="T17" fmla="*/ 98 h 159"/>
                <a:gd name="T18" fmla="*/ 7 w 167"/>
                <a:gd name="T19" fmla="*/ 103 h 159"/>
                <a:gd name="T20" fmla="*/ 0 w 167"/>
                <a:gd name="T21" fmla="*/ 112 h 159"/>
                <a:gd name="T22" fmla="*/ 7 w 167"/>
                <a:gd name="T23" fmla="*/ 121 h 159"/>
                <a:gd name="T24" fmla="*/ 28 w 167"/>
                <a:gd name="T25" fmla="*/ 147 h 159"/>
                <a:gd name="T26" fmla="*/ 36 w 167"/>
                <a:gd name="T27" fmla="*/ 157 h 159"/>
                <a:gd name="T28" fmla="*/ 48 w 167"/>
                <a:gd name="T29" fmla="*/ 159 h 159"/>
                <a:gd name="T30" fmla="*/ 64 w 167"/>
                <a:gd name="T31" fmla="*/ 155 h 159"/>
                <a:gd name="T32" fmla="*/ 73 w 167"/>
                <a:gd name="T33" fmla="*/ 137 h 159"/>
                <a:gd name="T34" fmla="*/ 115 w 167"/>
                <a:gd name="T35" fmla="*/ 62 h 159"/>
                <a:gd name="T36" fmla="*/ 161 w 167"/>
                <a:gd name="T37" fmla="*/ 9 h 159"/>
                <a:gd name="T38" fmla="*/ 166 w 167"/>
                <a:gd name="T39" fmla="*/ 4 h 159"/>
                <a:gd name="T40" fmla="*/ 167 w 167"/>
                <a:gd name="T41" fmla="*/ 2 h 159"/>
                <a:gd name="T42" fmla="*/ 164 w 167"/>
                <a:gd name="T43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7" h="159">
                  <a:moveTo>
                    <a:pt x="164" y="0"/>
                  </a:moveTo>
                  <a:cubicBezTo>
                    <a:pt x="162" y="0"/>
                    <a:pt x="157" y="1"/>
                    <a:pt x="150" y="2"/>
                  </a:cubicBezTo>
                  <a:cubicBezTo>
                    <a:pt x="143" y="3"/>
                    <a:pt x="139" y="3"/>
                    <a:pt x="137" y="4"/>
                  </a:cubicBezTo>
                  <a:cubicBezTo>
                    <a:pt x="135" y="5"/>
                    <a:pt x="131" y="8"/>
                    <a:pt x="126" y="13"/>
                  </a:cubicBezTo>
                  <a:cubicBezTo>
                    <a:pt x="121" y="18"/>
                    <a:pt x="113" y="27"/>
                    <a:pt x="103" y="40"/>
                  </a:cubicBezTo>
                  <a:cubicBezTo>
                    <a:pt x="93" y="53"/>
                    <a:pt x="84" y="67"/>
                    <a:pt x="76" y="81"/>
                  </a:cubicBezTo>
                  <a:cubicBezTo>
                    <a:pt x="67" y="96"/>
                    <a:pt x="59" y="111"/>
                    <a:pt x="51" y="127"/>
                  </a:cubicBezTo>
                  <a:cubicBezTo>
                    <a:pt x="44" y="116"/>
                    <a:pt x="38" y="108"/>
                    <a:pt x="33" y="104"/>
                  </a:cubicBezTo>
                  <a:cubicBezTo>
                    <a:pt x="27" y="100"/>
                    <a:pt x="22" y="98"/>
                    <a:pt x="18" y="98"/>
                  </a:cubicBezTo>
                  <a:cubicBezTo>
                    <a:pt x="15" y="98"/>
                    <a:pt x="12" y="100"/>
                    <a:pt x="7" y="103"/>
                  </a:cubicBezTo>
                  <a:cubicBezTo>
                    <a:pt x="3" y="106"/>
                    <a:pt x="0" y="109"/>
                    <a:pt x="0" y="112"/>
                  </a:cubicBezTo>
                  <a:cubicBezTo>
                    <a:pt x="0" y="114"/>
                    <a:pt x="2" y="117"/>
                    <a:pt x="7" y="121"/>
                  </a:cubicBezTo>
                  <a:cubicBezTo>
                    <a:pt x="15" y="129"/>
                    <a:pt x="22" y="138"/>
                    <a:pt x="28" y="147"/>
                  </a:cubicBezTo>
                  <a:cubicBezTo>
                    <a:pt x="32" y="152"/>
                    <a:pt x="35" y="156"/>
                    <a:pt x="36" y="157"/>
                  </a:cubicBezTo>
                  <a:cubicBezTo>
                    <a:pt x="37" y="158"/>
                    <a:pt x="41" y="159"/>
                    <a:pt x="48" y="159"/>
                  </a:cubicBezTo>
                  <a:cubicBezTo>
                    <a:pt x="57" y="159"/>
                    <a:pt x="62" y="158"/>
                    <a:pt x="64" y="155"/>
                  </a:cubicBezTo>
                  <a:cubicBezTo>
                    <a:pt x="65" y="153"/>
                    <a:pt x="69" y="147"/>
                    <a:pt x="73" y="137"/>
                  </a:cubicBezTo>
                  <a:cubicBezTo>
                    <a:pt x="84" y="111"/>
                    <a:pt x="98" y="86"/>
                    <a:pt x="115" y="62"/>
                  </a:cubicBezTo>
                  <a:cubicBezTo>
                    <a:pt x="132" y="39"/>
                    <a:pt x="147" y="21"/>
                    <a:pt x="161" y="9"/>
                  </a:cubicBezTo>
                  <a:cubicBezTo>
                    <a:pt x="164" y="6"/>
                    <a:pt x="165" y="5"/>
                    <a:pt x="166" y="4"/>
                  </a:cubicBezTo>
                  <a:cubicBezTo>
                    <a:pt x="166" y="3"/>
                    <a:pt x="167" y="3"/>
                    <a:pt x="167" y="2"/>
                  </a:cubicBezTo>
                  <a:cubicBezTo>
                    <a:pt x="167" y="1"/>
                    <a:pt x="166" y="0"/>
                    <a:pt x="16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5" name="圆角矩形 14"/>
          <p:cNvSpPr/>
          <p:nvPr/>
        </p:nvSpPr>
        <p:spPr>
          <a:xfrm>
            <a:off x="5915025" y="4595495"/>
            <a:ext cx="956945" cy="51435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n-cs"/>
              </a:rPr>
              <a:t>模型更好</a:t>
            </a:r>
            <a:endParaRPr kumimoji="0" lang="zh-CN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32" name="圆角矩形 31"/>
          <p:cNvSpPr/>
          <p:nvPr/>
        </p:nvSpPr>
        <p:spPr>
          <a:xfrm>
            <a:off x="5915025" y="5440680"/>
            <a:ext cx="956945" cy="51435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n-cs"/>
              </a:rPr>
              <a:t>全量上线</a:t>
            </a:r>
            <a:endParaRPr kumimoji="0" lang="zh-CN" alt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4253230" y="2010410"/>
            <a:ext cx="666750" cy="2857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dirty="0" smtClean="0"/>
              <a:t>流量分流</a:t>
            </a:r>
            <a:endParaRPr lang="en-US" altLang="zh-CN" sz="1400" dirty="0" smtClean="0"/>
          </a:p>
        </p:txBody>
      </p:sp>
      <p:sp>
        <p:nvSpPr>
          <p:cNvPr id="34" name="文本框 33"/>
          <p:cNvSpPr txBox="1"/>
          <p:nvPr/>
        </p:nvSpPr>
        <p:spPr>
          <a:xfrm>
            <a:off x="4253230" y="2839720"/>
            <a:ext cx="666750" cy="4000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 algn="l">
              <a:buFont typeface="Arial" panose="020B0604020202020204" pitchFamily="34" charset="0"/>
              <a:buNone/>
            </a:pPr>
            <a:r>
              <a:rPr lang="en-US" altLang="zh-CN" sz="1400" dirty="0" smtClean="0"/>
              <a:t>AB</a:t>
            </a:r>
            <a:endParaRPr lang="en-US" altLang="zh-CN" sz="1400" dirty="0" smtClean="0"/>
          </a:p>
          <a:p>
            <a:pPr marL="106045" indent="0" algn="l">
              <a:buFont typeface="Arial" panose="020B0604020202020204" pitchFamily="34" charset="0"/>
              <a:buNone/>
            </a:pPr>
            <a:r>
              <a:rPr lang="zh-CN" altLang="en-US" sz="1400" dirty="0" smtClean="0"/>
              <a:t>方案</a:t>
            </a:r>
            <a:endParaRPr lang="zh-CN" altLang="en-US" sz="1400" dirty="0" smtClean="0"/>
          </a:p>
        </p:txBody>
      </p:sp>
      <p:sp>
        <p:nvSpPr>
          <p:cNvPr id="17" name="文本框 16"/>
          <p:cNvSpPr txBox="1"/>
          <p:nvPr/>
        </p:nvSpPr>
        <p:spPr>
          <a:xfrm>
            <a:off x="4253230" y="4019550"/>
            <a:ext cx="666750" cy="2857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dirty="0" smtClean="0"/>
              <a:t>效果</a:t>
            </a:r>
            <a:endParaRPr lang="zh-CN" altLang="en-US" sz="1400" dirty="0" smtClean="0"/>
          </a:p>
        </p:txBody>
      </p:sp>
      <p:sp>
        <p:nvSpPr>
          <p:cNvPr id="18" name="文本框 17"/>
          <p:cNvSpPr txBox="1"/>
          <p:nvPr/>
        </p:nvSpPr>
        <p:spPr>
          <a:xfrm>
            <a:off x="4253230" y="5152390"/>
            <a:ext cx="666750" cy="2857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dirty="0" smtClean="0"/>
              <a:t>决策</a:t>
            </a:r>
            <a:endParaRPr lang="zh-CN" altLang="en-US" sz="1400" dirty="0" smtClean="0"/>
          </a:p>
        </p:txBody>
      </p:sp>
      <p:cxnSp>
        <p:nvCxnSpPr>
          <p:cNvPr id="22" name="直接箭头连接符 21"/>
          <p:cNvCxnSpPr/>
          <p:nvPr/>
        </p:nvCxnSpPr>
        <p:spPr>
          <a:xfrm>
            <a:off x="4629150" y="2545080"/>
            <a:ext cx="0" cy="22860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箭头连接符 25"/>
          <p:cNvCxnSpPr/>
          <p:nvPr/>
        </p:nvCxnSpPr>
        <p:spPr>
          <a:xfrm>
            <a:off x="4629150" y="3457575"/>
            <a:ext cx="0" cy="36385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>
            <a:off x="5179060" y="2649855"/>
            <a:ext cx="24479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/>
        </p:nvCxnSpPr>
        <p:spPr>
          <a:xfrm>
            <a:off x="5179060" y="3862705"/>
            <a:ext cx="24479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/>
          <p:cNvCxnSpPr/>
          <p:nvPr/>
        </p:nvCxnSpPr>
        <p:spPr>
          <a:xfrm>
            <a:off x="5179060" y="4405630"/>
            <a:ext cx="24479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矩形 53"/>
          <p:cNvSpPr/>
          <p:nvPr/>
        </p:nvSpPr>
        <p:spPr>
          <a:xfrm>
            <a:off x="4352925" y="1678305"/>
            <a:ext cx="3486150" cy="4638040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cxnSp>
        <p:nvCxnSpPr>
          <p:cNvPr id="56" name="直接连接符 55"/>
          <p:cNvCxnSpPr/>
          <p:nvPr/>
        </p:nvCxnSpPr>
        <p:spPr>
          <a:xfrm>
            <a:off x="6269990" y="2859405"/>
            <a:ext cx="178435" cy="389890"/>
          </a:xfrm>
          <a:prstGeom prst="line">
            <a:avLst/>
          </a:prstGeom>
          <a:ln w="101600" cmpd="sng">
            <a:solidFill>
              <a:srgbClr val="F05A2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连接符 56"/>
          <p:cNvCxnSpPr/>
          <p:nvPr/>
        </p:nvCxnSpPr>
        <p:spPr>
          <a:xfrm flipH="1">
            <a:off x="6448425" y="2839720"/>
            <a:ext cx="153035" cy="374015"/>
          </a:xfrm>
          <a:prstGeom prst="line">
            <a:avLst/>
          </a:prstGeom>
          <a:ln w="101600" cmpd="sng">
            <a:solidFill>
              <a:srgbClr val="F05A2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文本框 34"/>
          <p:cNvSpPr txBox="1"/>
          <p:nvPr/>
        </p:nvSpPr>
        <p:spPr>
          <a:xfrm>
            <a:off x="6689090" y="3398520"/>
            <a:ext cx="861695" cy="24765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200" dirty="0" smtClean="0"/>
              <a:t>实验组</a:t>
            </a:r>
            <a:endParaRPr lang="zh-CN" altLang="en-US" sz="1200" dirty="0" smtClean="0"/>
          </a:p>
        </p:txBody>
      </p:sp>
      <p:sp>
        <p:nvSpPr>
          <p:cNvPr id="36" name="文本框 35"/>
          <p:cNvSpPr txBox="1"/>
          <p:nvPr/>
        </p:nvSpPr>
        <p:spPr>
          <a:xfrm>
            <a:off x="5313045" y="3398520"/>
            <a:ext cx="861695" cy="24765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200" dirty="0" smtClean="0"/>
              <a:t>对照组</a:t>
            </a:r>
            <a:endParaRPr lang="zh-CN" altLang="en-US" sz="1200" dirty="0" smtClean="0"/>
          </a:p>
        </p:txBody>
      </p:sp>
      <p:cxnSp>
        <p:nvCxnSpPr>
          <p:cNvPr id="37" name="直接箭头连接符 36"/>
          <p:cNvCxnSpPr/>
          <p:nvPr/>
        </p:nvCxnSpPr>
        <p:spPr>
          <a:xfrm>
            <a:off x="4629150" y="4547235"/>
            <a:ext cx="0" cy="36385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实测胜算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怎么说明模型效果更好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5989955" cy="36449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>
              <a:buNone/>
            </a:pPr>
            <a:r>
              <a:rPr lang="en-US" altLang="zh-CN" dirty="0" smtClean="0"/>
              <a:t>AB</a:t>
            </a:r>
            <a:r>
              <a:rPr lang="zh-CN" altLang="en-US" dirty="0" smtClean="0"/>
              <a:t>实验的关键点</a:t>
            </a:r>
            <a:endParaRPr lang="zh-CN" altLang="en-US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948055" y="1510030"/>
            <a:ext cx="5989955" cy="1015365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AB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正交（完全随机，相互独立）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只能有一个变量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有一个快速度量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AB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效果的指标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948055" y="2572385"/>
            <a:ext cx="288544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0000"/>
          </a:bodyPr>
          <a:p>
            <a:pPr marL="106045" indent="0">
              <a:buNone/>
            </a:pPr>
            <a:r>
              <a:rPr lang="zh-CN" sz="1800" dirty="0" smtClean="0"/>
              <a:t>下面这些满足</a:t>
            </a:r>
            <a:r>
              <a:rPr lang="en-US" altLang="zh-CN" sz="1800" dirty="0" smtClean="0"/>
              <a:t>AB</a:t>
            </a:r>
            <a:r>
              <a:rPr lang="zh-CN" altLang="en-US" sz="1800" dirty="0" smtClean="0"/>
              <a:t>实验吗</a:t>
            </a:r>
            <a:endParaRPr lang="zh-CN" altLang="en-US" sz="1800" dirty="0" smtClean="0"/>
          </a:p>
        </p:txBody>
      </p:sp>
      <p:grpSp>
        <p:nvGrpSpPr>
          <p:cNvPr id="15" name="组合 14"/>
          <p:cNvGrpSpPr/>
          <p:nvPr/>
        </p:nvGrpSpPr>
        <p:grpSpPr>
          <a:xfrm>
            <a:off x="4282440" y="2961005"/>
            <a:ext cx="2875280" cy="1715770"/>
            <a:chOff x="1689" y="5233"/>
            <a:chExt cx="4528" cy="2702"/>
          </a:xfrm>
        </p:grpSpPr>
        <p:sp>
          <p:nvSpPr>
            <p:cNvPr id="3" name="椭圆 2"/>
            <p:cNvSpPr/>
            <p:nvPr/>
          </p:nvSpPr>
          <p:spPr>
            <a:xfrm>
              <a:off x="2036" y="5425"/>
              <a:ext cx="1691" cy="1691"/>
            </a:xfrm>
            <a:prstGeom prst="ellipse">
              <a:avLst/>
            </a:prstGeom>
            <a:noFill/>
            <a:ln w="0">
              <a:solidFill>
                <a:srgbClr val="F05A23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40000"/>
                      <a:lumOff val="60000"/>
                    </a:schemeClr>
                  </a:solidFill>
                </a14:hiddenFill>
              </a:ext>
            </a:extLst>
          </p:spPr>
          <p:txBody>
            <a:bodyPr vert="horz" wrap="square" lIns="91440" tIns="45720" rIns="91440" bIns="45720" numCol="1" rtlCol="0" anchor="ctr" anchorCtr="0" compatLnSpc="1"/>
            <a:p>
              <a:pPr algn="ctr"/>
              <a:r>
                <a:rPr lang="en-US" altLang="zh-CN"/>
                <a:t>A</a:t>
              </a:r>
              <a:r>
                <a:rPr lang="zh-CN" altLang="en-US"/>
                <a:t>机构</a:t>
              </a:r>
              <a:endParaRPr lang="zh-CN" altLang="en-US"/>
            </a:p>
          </p:txBody>
        </p:sp>
        <p:sp>
          <p:nvSpPr>
            <p:cNvPr id="8" name="椭圆 7"/>
            <p:cNvSpPr/>
            <p:nvPr/>
          </p:nvSpPr>
          <p:spPr>
            <a:xfrm>
              <a:off x="4104" y="5425"/>
              <a:ext cx="1691" cy="1691"/>
            </a:xfrm>
            <a:prstGeom prst="ellipse">
              <a:avLst/>
            </a:prstGeom>
            <a:noFill/>
            <a:ln w="0">
              <a:solidFill>
                <a:srgbClr val="F05A23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40000"/>
                      <a:lumOff val="60000"/>
                    </a:schemeClr>
                  </a:solidFill>
                </a14:hiddenFill>
              </a:ext>
            </a:extLst>
          </p:spPr>
          <p:txBody>
            <a:bodyPr vert="horz" wrap="square" lIns="91440" tIns="45720" rIns="91440" bIns="45720" numCol="1" rtlCol="0" anchor="ctr" anchorCtr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en-US" altLang="zh-CN">
                  <a:sym typeface="+mn-ea"/>
                </a:rPr>
                <a:t>B</a:t>
              </a:r>
              <a:r>
                <a:rPr lang="en-US" altLang="zh-CN">
                  <a:sym typeface="+mn-ea"/>
                </a:rPr>
                <a:t>机构</a:t>
              </a:r>
              <a:endParaRPr lang="en-US" altLang="zh-CN">
                <a:sym typeface="+mn-ea"/>
              </a:endParaRP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2035" y="7346"/>
              <a:ext cx="1510" cy="4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 fontScale="80000"/>
            </a:bodyPr>
            <a:p>
              <a:pPr marL="106045" indent="0">
                <a:buFont typeface="Arial" panose="020B0604020202020204" pitchFamily="34" charset="0"/>
                <a:buNone/>
              </a:pPr>
              <a:r>
                <a:rPr lang="zh-CN" altLang="en-US" sz="1800" dirty="0" smtClean="0"/>
                <a:t>实验组</a:t>
              </a:r>
              <a:endParaRPr lang="zh-CN" altLang="en-US" sz="1800" dirty="0" smtClean="0"/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4104" y="7346"/>
              <a:ext cx="1510" cy="4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 fontScale="80000"/>
            </a:bodyPr>
            <a:p>
              <a:pPr marL="106045" indent="0">
                <a:buFont typeface="Arial" panose="020B0604020202020204" pitchFamily="34" charset="0"/>
                <a:buNone/>
              </a:pPr>
              <a:r>
                <a:rPr lang="zh-CN" altLang="en-US" sz="1800" dirty="0" smtClean="0"/>
                <a:t>对照组</a:t>
              </a:r>
              <a:endParaRPr lang="zh-CN" altLang="en-US" sz="1800" dirty="0" smtClean="0"/>
            </a:p>
          </p:txBody>
        </p:sp>
        <p:sp>
          <p:nvSpPr>
            <p:cNvPr id="13" name="矩形 12"/>
            <p:cNvSpPr/>
            <p:nvPr/>
          </p:nvSpPr>
          <p:spPr>
            <a:xfrm>
              <a:off x="1689" y="5233"/>
              <a:ext cx="4528" cy="2702"/>
            </a:xfrm>
            <a:prstGeom prst="rect">
              <a:avLst/>
            </a:prstGeom>
            <a:noFill/>
            <a:ln w="0">
              <a:solidFill>
                <a:schemeClr val="bg1">
                  <a:lumMod val="95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40000"/>
                      <a:lumOff val="60000"/>
                    </a:schemeClr>
                  </a:solidFill>
                </a14:hiddenFill>
              </a:ext>
            </a:extLst>
          </p:spPr>
          <p:txBody>
            <a:bodyPr vert="horz" wrap="square" lIns="91440" tIns="45720" rIns="91440" bIns="45720" numCol="1" rtlCol="0" anchor="t" anchorCtr="0" compatLnSpc="1"/>
            <a:p>
              <a:endParaRPr lang="zh-CN" altLang="en-US"/>
            </a:p>
          </p:txBody>
        </p:sp>
      </p:grpSp>
      <p:sp>
        <p:nvSpPr>
          <p:cNvPr id="27" name="文本框 26"/>
          <p:cNvSpPr txBox="1"/>
          <p:nvPr/>
        </p:nvSpPr>
        <p:spPr>
          <a:xfrm>
            <a:off x="4864100" y="4935855"/>
            <a:ext cx="1447165" cy="48387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600" dirty="0" smtClean="0"/>
              <a:t>变量不唯一</a:t>
            </a:r>
            <a:endParaRPr lang="zh-CN" altLang="en-US" sz="1600" dirty="0" smtClean="0"/>
          </a:p>
        </p:txBody>
      </p:sp>
      <p:pic>
        <p:nvPicPr>
          <p:cNvPr id="45" name="图片 4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36725" y="5745480"/>
            <a:ext cx="599440" cy="779145"/>
          </a:xfrm>
          <a:prstGeom prst="rect">
            <a:avLst/>
          </a:prstGeom>
        </p:spPr>
      </p:pic>
      <p:sp>
        <p:nvSpPr>
          <p:cNvPr id="46" name="文本框 45"/>
          <p:cNvSpPr txBox="1"/>
          <p:nvPr/>
        </p:nvSpPr>
        <p:spPr>
          <a:xfrm>
            <a:off x="2567940" y="5962650"/>
            <a:ext cx="5989955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0000"/>
          </a:bodyPr>
          <a:p>
            <a:pPr marL="106045" indent="0">
              <a:buNone/>
            </a:pPr>
            <a:r>
              <a:rPr lang="zh-CN" sz="1800" dirty="0" smtClean="0"/>
              <a:t>寿险场景</a:t>
            </a:r>
            <a:r>
              <a:rPr lang="en-US" altLang="zh-CN" sz="1800" dirty="0" smtClean="0"/>
              <a:t>AB</a:t>
            </a:r>
            <a:r>
              <a:rPr lang="zh-CN" altLang="en-US" sz="1800" dirty="0" smtClean="0"/>
              <a:t>实验会遇到什么困难？</a:t>
            </a:r>
            <a:endParaRPr lang="zh-CN" altLang="en-US" sz="1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7" grpId="1"/>
      <p:bldP spid="46" grpId="0"/>
      <p:bldP spid="46" grpId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/>
        </p:nvSpPr>
        <p:spPr>
          <a:xfrm>
            <a:off x="6546215" y="3582035"/>
            <a:ext cx="3642360" cy="135128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1981835" y="3582035"/>
            <a:ext cx="3642360" cy="135128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10" name="矩形 9"/>
          <p:cNvSpPr/>
          <p:nvPr/>
        </p:nvSpPr>
        <p:spPr>
          <a:xfrm>
            <a:off x="1981835" y="2353945"/>
            <a:ext cx="3642360" cy="74803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实测胜算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怎么说明模型效果更好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寿险场景存在的问题</a:t>
            </a:r>
            <a:endParaRPr lang="en-US" altLang="zh-CN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2111375" y="2357755"/>
            <a:ext cx="3546475" cy="69977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AB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正交（完全随机，相互独立）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只能有一个变量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555740" y="3658870"/>
            <a:ext cx="3795395" cy="96393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fontAlgn="auto">
              <a:lnSpc>
                <a:spcPts val="2300"/>
              </a:lnSpc>
              <a:buFont typeface="Arial" panose="020B0604020202020204" pitchFamily="34" charset="0"/>
              <a:buNone/>
            </a:pPr>
            <a:r>
              <a:rPr lang="zh-CN" altLang="en-US" sz="1400" dirty="0" smtClean="0"/>
              <a:t>度量指标周期太长，如投诉、理赔、保险营销等，都需要几个月甚至更长才能观察到效果；且在这个时间范围内会有很多不可控的变量</a:t>
            </a:r>
            <a:endParaRPr lang="zh-CN" altLang="en-US" sz="1400" dirty="0" smtClean="0"/>
          </a:p>
        </p:txBody>
      </p:sp>
      <p:sp>
        <p:nvSpPr>
          <p:cNvPr id="9" name="文本框 8"/>
          <p:cNvSpPr txBox="1"/>
          <p:nvPr/>
        </p:nvSpPr>
        <p:spPr>
          <a:xfrm>
            <a:off x="2111375" y="4020820"/>
            <a:ext cx="3546475" cy="40386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有一个快速度量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AB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效果的指标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3195320" y="1717040"/>
            <a:ext cx="1180465" cy="282575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ctr"/>
            <a:r>
              <a:rPr lang="zh-CN" altLang="en-US" sz="1600" b="1" dirty="0" err="1" smtClean="0">
                <a:solidFill>
                  <a:srgbClr val="575757"/>
                </a:solidFill>
              </a:rPr>
              <a:t>关键点</a:t>
            </a:r>
            <a:endParaRPr lang="zh-CN" altLang="en-US" sz="1600" b="1" dirty="0" err="1" smtClean="0">
              <a:solidFill>
                <a:srgbClr val="575757"/>
              </a:solidFill>
            </a:endParaRPr>
          </a:p>
        </p:txBody>
      </p:sp>
      <p:cxnSp>
        <p:nvCxnSpPr>
          <p:cNvPr id="32" name="直接连接符 31"/>
          <p:cNvCxnSpPr/>
          <p:nvPr/>
        </p:nvCxnSpPr>
        <p:spPr>
          <a:xfrm>
            <a:off x="2037715" y="2078355"/>
            <a:ext cx="3567430" cy="0"/>
          </a:xfrm>
          <a:prstGeom prst="line">
            <a:avLst/>
          </a:prstGeom>
          <a:ln w="9525" cap="rnd">
            <a:solidFill>
              <a:srgbClr val="F2772C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文本框 32"/>
          <p:cNvSpPr txBox="1"/>
          <p:nvPr/>
        </p:nvSpPr>
        <p:spPr>
          <a:xfrm>
            <a:off x="7733030" y="1717040"/>
            <a:ext cx="1352550" cy="282575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ctr"/>
            <a:r>
              <a:rPr lang="zh-CN" altLang="en-US" sz="1600" b="1" dirty="0" err="1" smtClean="0">
                <a:solidFill>
                  <a:srgbClr val="575757"/>
                </a:solidFill>
              </a:rPr>
              <a:t>存在的问题</a:t>
            </a:r>
            <a:endParaRPr lang="zh-CN" altLang="en-US" sz="1600" b="1" dirty="0" err="1" smtClean="0">
              <a:solidFill>
                <a:srgbClr val="575757"/>
              </a:solidFill>
            </a:endParaRPr>
          </a:p>
        </p:txBody>
      </p:sp>
      <p:cxnSp>
        <p:nvCxnSpPr>
          <p:cNvPr id="34" name="直接连接符 33"/>
          <p:cNvCxnSpPr/>
          <p:nvPr/>
        </p:nvCxnSpPr>
        <p:spPr>
          <a:xfrm>
            <a:off x="6575425" y="2078355"/>
            <a:ext cx="3567430" cy="0"/>
          </a:xfrm>
          <a:prstGeom prst="line">
            <a:avLst/>
          </a:prstGeom>
          <a:ln w="9525" cap="rnd">
            <a:solidFill>
              <a:srgbClr val="F2772C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箭头连接符 16"/>
          <p:cNvCxnSpPr>
            <a:endCxn id="2" idx="3"/>
          </p:cNvCxnSpPr>
          <p:nvPr/>
        </p:nvCxnSpPr>
        <p:spPr>
          <a:xfrm flipH="1" flipV="1">
            <a:off x="5657850" y="2707640"/>
            <a:ext cx="791845" cy="143891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/>
          <p:nvPr/>
        </p:nvCxnSpPr>
        <p:spPr>
          <a:xfrm flipH="1">
            <a:off x="5740400" y="4319270"/>
            <a:ext cx="690245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实测胜算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怎么说明模型效果更好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93522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0000" lnSpcReduction="10000"/>
          </a:bodyPr>
          <a:p>
            <a:pPr marL="106045" indent="0">
              <a:buNone/>
            </a:pPr>
            <a:r>
              <a:rPr lang="zh-CN" altLang="en-US" sz="2000" dirty="0" smtClean="0"/>
              <a:t>怎么解决</a:t>
            </a:r>
            <a:r>
              <a:rPr lang="en-US" altLang="zh-CN" sz="1800" dirty="0" smtClean="0"/>
              <a:t>——</a:t>
            </a:r>
            <a:r>
              <a:rPr lang="zh-CN" altLang="en-US" sz="1800" dirty="0" smtClean="0"/>
              <a:t>尽可能减少影响，无法彻底消除</a:t>
            </a:r>
            <a:endParaRPr lang="zh-CN" altLang="en-US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1120775" y="1578610"/>
            <a:ext cx="4064000" cy="377825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缩短观察期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4309552" y="2107443"/>
            <a:ext cx="3341149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>
                <a:latin typeface="+mn-ea"/>
              </a:rPr>
              <a:t>一</a:t>
            </a:r>
            <a:r>
              <a:rPr lang="zh-CN" altLang="en-US" sz="1400" smtClean="0">
                <a:latin typeface="+mn-ea"/>
              </a:rPr>
              <a:t>个预测时间点</a:t>
            </a:r>
            <a:r>
              <a:rPr lang="en-US" altLang="zh-CN" sz="1400" smtClean="0">
                <a:latin typeface="+mn-ea"/>
              </a:rPr>
              <a:t>+</a:t>
            </a:r>
            <a:r>
              <a:rPr lang="zh-CN" altLang="en-US" sz="1400" smtClean="0">
                <a:latin typeface="+mn-ea"/>
              </a:rPr>
              <a:t>多个时间窗预测</a:t>
            </a:r>
            <a:endParaRPr lang="en-US" altLang="zh-CN" sz="1400" smtClean="0">
              <a:latin typeface="+mn-ea"/>
            </a:endParaRPr>
          </a:p>
        </p:txBody>
      </p:sp>
      <p:cxnSp>
        <p:nvCxnSpPr>
          <p:cNvPr id="17" name="直接箭头连接符 16"/>
          <p:cNvCxnSpPr/>
          <p:nvPr/>
        </p:nvCxnSpPr>
        <p:spPr>
          <a:xfrm>
            <a:off x="4503526" y="3175105"/>
            <a:ext cx="2643447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4727970" y="3041135"/>
            <a:ext cx="0" cy="1339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文本框 21"/>
          <p:cNvSpPr txBox="1"/>
          <p:nvPr/>
        </p:nvSpPr>
        <p:spPr>
          <a:xfrm>
            <a:off x="4187573" y="3175105"/>
            <a:ext cx="925484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zh-CN" altLang="en-US" sz="1000" smtClean="0"/>
              <a:t>预测时间点</a:t>
            </a:r>
            <a:endParaRPr lang="en-US" altLang="zh-CN" sz="1000" smtClean="0"/>
          </a:p>
        </p:txBody>
      </p:sp>
      <p:cxnSp>
        <p:nvCxnSpPr>
          <p:cNvPr id="23" name="直接连接符 22"/>
          <p:cNvCxnSpPr/>
          <p:nvPr/>
        </p:nvCxnSpPr>
        <p:spPr>
          <a:xfrm>
            <a:off x="5279379" y="3041135"/>
            <a:ext cx="0" cy="1339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830788" y="3041135"/>
            <a:ext cx="0" cy="1339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/>
          <p:nvPr/>
        </p:nvCxnSpPr>
        <p:spPr>
          <a:xfrm>
            <a:off x="6382197" y="3041135"/>
            <a:ext cx="0" cy="1339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/>
          <p:nvPr/>
        </p:nvCxnSpPr>
        <p:spPr>
          <a:xfrm>
            <a:off x="6933606" y="3041135"/>
            <a:ext cx="0" cy="1339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左大括号 27"/>
          <p:cNvSpPr/>
          <p:nvPr/>
        </p:nvSpPr>
        <p:spPr>
          <a:xfrm rot="5400000">
            <a:off x="4946214" y="2679776"/>
            <a:ext cx="114287" cy="535416"/>
          </a:xfrm>
          <a:prstGeom prst="leftBrace">
            <a:avLst>
              <a:gd name="adj1" fmla="val 58456"/>
              <a:gd name="adj2" fmla="val 50000"/>
            </a:avLst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  <p:txBody>
          <a:bodyPr rtlCol="0" anchor="ctr"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30" name="左大括号 29"/>
          <p:cNvSpPr/>
          <p:nvPr/>
        </p:nvSpPr>
        <p:spPr>
          <a:xfrm rot="5400000">
            <a:off x="5201772" y="2291208"/>
            <a:ext cx="162891" cy="1095139"/>
          </a:xfrm>
          <a:prstGeom prst="leftBrace">
            <a:avLst>
              <a:gd name="adj1" fmla="val 58456"/>
              <a:gd name="adj2" fmla="val 50000"/>
            </a:avLst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  <p:txBody>
          <a:bodyPr rtlCol="0" anchor="ctr"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32" name="左大括号 31"/>
          <p:cNvSpPr/>
          <p:nvPr/>
        </p:nvSpPr>
        <p:spPr>
          <a:xfrm rot="5400000">
            <a:off x="5454122" y="1890426"/>
            <a:ext cx="209597" cy="1646550"/>
          </a:xfrm>
          <a:prstGeom prst="leftBrace">
            <a:avLst>
              <a:gd name="adj1" fmla="val 58456"/>
              <a:gd name="adj2" fmla="val 50000"/>
            </a:avLst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  <p:txBody>
          <a:bodyPr rtlCol="0" anchor="ctr"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33" name="左大括号 32"/>
          <p:cNvSpPr/>
          <p:nvPr/>
        </p:nvSpPr>
        <p:spPr>
          <a:xfrm rot="5400000">
            <a:off x="5729827" y="1456874"/>
            <a:ext cx="209597" cy="2197960"/>
          </a:xfrm>
          <a:prstGeom prst="leftBrace">
            <a:avLst>
              <a:gd name="adj1" fmla="val 58456"/>
              <a:gd name="adj2" fmla="val 50000"/>
            </a:avLst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  <p:txBody>
          <a:bodyPr rtlCol="0" anchor="ctr"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4659385" y="2941377"/>
            <a:ext cx="606137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en-US" altLang="zh-CN" sz="1000" smtClean="0"/>
              <a:t>60</a:t>
            </a:r>
            <a:r>
              <a:rPr lang="zh-CN" altLang="en-US" sz="1000" smtClean="0"/>
              <a:t>天</a:t>
            </a:r>
            <a:endParaRPr lang="en-US" altLang="zh-CN" sz="1000" smtClean="0"/>
          </a:p>
        </p:txBody>
      </p:sp>
      <p:sp>
        <p:nvSpPr>
          <p:cNvPr id="12" name="文本框 11"/>
          <p:cNvSpPr txBox="1"/>
          <p:nvPr/>
        </p:nvSpPr>
        <p:spPr>
          <a:xfrm>
            <a:off x="5265522" y="2941377"/>
            <a:ext cx="606137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en-US" altLang="zh-CN" sz="1000"/>
              <a:t>9</a:t>
            </a:r>
            <a:r>
              <a:rPr lang="en-US" altLang="zh-CN" sz="1000" smtClean="0"/>
              <a:t>0</a:t>
            </a:r>
            <a:r>
              <a:rPr lang="zh-CN" altLang="en-US" sz="1000" smtClean="0"/>
              <a:t>天</a:t>
            </a:r>
            <a:endParaRPr lang="en-US" altLang="zh-CN" sz="1000" smtClean="0"/>
          </a:p>
        </p:txBody>
      </p:sp>
      <p:sp>
        <p:nvSpPr>
          <p:cNvPr id="13" name="文本框 12"/>
          <p:cNvSpPr txBox="1"/>
          <p:nvPr/>
        </p:nvSpPr>
        <p:spPr>
          <a:xfrm>
            <a:off x="5737335" y="2941377"/>
            <a:ext cx="665298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en-US" altLang="zh-CN" sz="1000" smtClean="0"/>
              <a:t>180</a:t>
            </a:r>
            <a:r>
              <a:rPr lang="zh-CN" altLang="en-US" sz="1000" smtClean="0"/>
              <a:t>天</a:t>
            </a:r>
            <a:endParaRPr lang="en-US" altLang="zh-CN" sz="1000" smtClean="0"/>
          </a:p>
        </p:txBody>
      </p:sp>
      <p:sp>
        <p:nvSpPr>
          <p:cNvPr id="15" name="文本框 14"/>
          <p:cNvSpPr txBox="1"/>
          <p:nvPr/>
        </p:nvSpPr>
        <p:spPr>
          <a:xfrm>
            <a:off x="6292678" y="2941377"/>
            <a:ext cx="665298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en-US" altLang="zh-CN" sz="1000" smtClean="0"/>
              <a:t>365</a:t>
            </a:r>
            <a:r>
              <a:rPr lang="zh-CN" altLang="en-US" sz="1000" smtClean="0"/>
              <a:t>天</a:t>
            </a:r>
            <a:endParaRPr lang="en-US" altLang="zh-CN" sz="1000" smtClean="0"/>
          </a:p>
        </p:txBody>
      </p:sp>
      <p:sp>
        <p:nvSpPr>
          <p:cNvPr id="18" name="文本框 17"/>
          <p:cNvSpPr txBox="1"/>
          <p:nvPr/>
        </p:nvSpPr>
        <p:spPr>
          <a:xfrm>
            <a:off x="4853574" y="3175105"/>
            <a:ext cx="925484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zh-CN" altLang="en-US" sz="1000" smtClean="0"/>
              <a:t>时间窗</a:t>
            </a:r>
            <a:r>
              <a:rPr lang="en-US" altLang="zh-CN" sz="1000" smtClean="0"/>
              <a:t>1</a:t>
            </a:r>
            <a:endParaRPr lang="en-US" altLang="zh-CN" sz="1000" smtClean="0"/>
          </a:p>
        </p:txBody>
      </p:sp>
      <p:sp>
        <p:nvSpPr>
          <p:cNvPr id="25" name="文本框 24"/>
          <p:cNvSpPr txBox="1"/>
          <p:nvPr/>
        </p:nvSpPr>
        <p:spPr>
          <a:xfrm>
            <a:off x="5410815" y="3175105"/>
            <a:ext cx="925484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zh-CN" altLang="en-US" sz="1000" smtClean="0"/>
              <a:t>时间窗</a:t>
            </a:r>
            <a:r>
              <a:rPr lang="en-US" altLang="zh-CN" sz="1000" smtClean="0"/>
              <a:t>2</a:t>
            </a:r>
            <a:endParaRPr lang="en-US" altLang="zh-CN" sz="1000" smtClean="0"/>
          </a:p>
        </p:txBody>
      </p:sp>
      <p:sp>
        <p:nvSpPr>
          <p:cNvPr id="31" name="文本框 30"/>
          <p:cNvSpPr txBox="1"/>
          <p:nvPr/>
        </p:nvSpPr>
        <p:spPr>
          <a:xfrm>
            <a:off x="5956228" y="3175105"/>
            <a:ext cx="925484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zh-CN" altLang="en-US" sz="1000" smtClean="0"/>
              <a:t>时间窗</a:t>
            </a:r>
            <a:r>
              <a:rPr lang="en-US" altLang="zh-CN" sz="1000" smtClean="0"/>
              <a:t>3</a:t>
            </a:r>
            <a:endParaRPr lang="en-US" altLang="zh-CN" sz="1000" smtClean="0"/>
          </a:p>
        </p:txBody>
      </p:sp>
      <p:sp>
        <p:nvSpPr>
          <p:cNvPr id="45" name="文本框 44"/>
          <p:cNvSpPr txBox="1"/>
          <p:nvPr/>
        </p:nvSpPr>
        <p:spPr>
          <a:xfrm>
            <a:off x="6519393" y="3175105"/>
            <a:ext cx="925484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zh-CN" altLang="en-US" sz="1000" smtClean="0"/>
              <a:t>时间窗</a:t>
            </a:r>
            <a:r>
              <a:rPr lang="en-US" altLang="zh-CN" sz="1000" smtClean="0"/>
              <a:t>4</a:t>
            </a:r>
            <a:endParaRPr lang="en-US" altLang="zh-CN" sz="1000" smtClean="0"/>
          </a:p>
        </p:txBody>
      </p:sp>
      <p:sp>
        <p:nvSpPr>
          <p:cNvPr id="61" name="文本框 60"/>
          <p:cNvSpPr txBox="1"/>
          <p:nvPr/>
        </p:nvSpPr>
        <p:spPr>
          <a:xfrm>
            <a:off x="1120775" y="3687445"/>
            <a:ext cx="4064000" cy="377825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量化指标拆解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63" name="文本框 62"/>
          <p:cNvSpPr txBox="1"/>
          <p:nvPr/>
        </p:nvSpPr>
        <p:spPr>
          <a:xfrm>
            <a:off x="1412875" y="4118610"/>
            <a:ext cx="5107305" cy="138303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环节拆解，量化结果指标拆解成多个中间指标。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比如保险转化预测：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可以拆分成线索查看、点击、浏览、转化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量化指标由转化率改为线索查看率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779260" y="1055370"/>
            <a:ext cx="3867150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洞察趋势：了解保险风控格局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3750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  <p:sp>
          <p:nvSpPr>
            <p:cNvPr id="20" name="直角三角形 19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</p:grpSp>
      <p:sp>
        <p:nvSpPr>
          <p:cNvPr id="21" name="等腰三角形 20"/>
          <p:cNvSpPr/>
          <p:nvPr/>
        </p:nvSpPr>
        <p:spPr>
          <a:xfrm rot="10273322">
            <a:off x="2884558" y="793348"/>
            <a:ext cx="1825398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2" name="直角三角形 21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3" name="文本框 6"/>
          <p:cNvSpPr txBox="1"/>
          <p:nvPr/>
        </p:nvSpPr>
        <p:spPr>
          <a:xfrm>
            <a:off x="630723" y="2708304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CONTENT</a:t>
            </a:r>
            <a:endParaRPr kumimoji="0" lang="en-US" altLang="zh-CN" sz="32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kumimoji="0" lang="zh-CN" altLang="en-US" sz="44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5881411" y="105546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1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5881411" y="200987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2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2" name="椭圆 71"/>
          <p:cNvSpPr/>
          <p:nvPr/>
        </p:nvSpPr>
        <p:spPr>
          <a:xfrm>
            <a:off x="5881411" y="296427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3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6779260" y="200596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突破瓶颈：小样本数据挖掘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6779260" y="295656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解码行为：破局稀缺</a:t>
            </a: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&amp;</a:t>
            </a: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精选标签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5882046" y="391868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4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79895" y="390715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实测胜算：AB实验测试效果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9" name="椭圆 8"/>
          <p:cNvSpPr/>
          <p:nvPr/>
        </p:nvSpPr>
        <p:spPr>
          <a:xfrm>
            <a:off x="5882046" y="4873088"/>
            <a:ext cx="533400" cy="53340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>
                <a:latin typeface="+mj-lt"/>
                <a:ea typeface="Noto Sans S Chinese Regular" panose="020B0500000000000000" pitchFamily="34" charset="-122"/>
                <a:sym typeface="+mn-ea"/>
              </a:rPr>
              <a:t>5</a:t>
            </a:r>
            <a:endParaRPr lang="en-US" altLang="zh-CN" sz="2000" b="1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79895" y="4857750"/>
            <a:ext cx="3867785" cy="533400"/>
          </a:xfrm>
          <a:prstGeom prst="rect">
            <a:avLst/>
          </a:prstGeom>
          <a:solidFill>
            <a:srgbClr val="FF66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解析风险：构建可解释的模型</a:t>
            </a:r>
            <a:endParaRPr lang="zh-CN" altLang="en-US" sz="2000" b="1" dirty="0" smtClean="0">
              <a:solidFill>
                <a:schemeClr val="bg1"/>
              </a:solidFill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779260" y="1055370"/>
            <a:ext cx="3867150" cy="533400"/>
          </a:xfrm>
          <a:prstGeom prst="rect">
            <a:avLst/>
          </a:prstGeom>
          <a:solidFill>
            <a:srgbClr val="FF66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l"/>
            <a:r>
              <a:rPr lang="zh-CN" altLang="en-US" sz="2000" b="1" dirty="0" smtClean="0">
                <a:solidFill>
                  <a:schemeClr val="bg1"/>
                </a:solidFill>
              </a:rPr>
              <a:t>洞察趋势：了解保险风控格局</a:t>
            </a:r>
            <a:endParaRPr lang="zh-CN" altLang="en-US" sz="2000" b="1" dirty="0" smtClean="0">
              <a:solidFill>
                <a:schemeClr val="bg1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3750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  <p:sp>
          <p:nvSpPr>
            <p:cNvPr id="20" name="直角三角形 19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</p:grpSp>
      <p:sp>
        <p:nvSpPr>
          <p:cNvPr id="21" name="等腰三角形 20"/>
          <p:cNvSpPr/>
          <p:nvPr/>
        </p:nvSpPr>
        <p:spPr>
          <a:xfrm rot="10273322">
            <a:off x="2884558" y="793348"/>
            <a:ext cx="1825398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2" name="直角三角形 21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3" name="文本框 6"/>
          <p:cNvSpPr txBox="1"/>
          <p:nvPr/>
        </p:nvSpPr>
        <p:spPr>
          <a:xfrm>
            <a:off x="630723" y="2708304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CONTENT</a:t>
            </a:r>
            <a:endParaRPr kumimoji="0" lang="en-US" altLang="zh-CN" sz="32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kumimoji="0" lang="zh-CN" altLang="en-US" sz="44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5881411" y="1055468"/>
            <a:ext cx="533400" cy="53340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140000"/>
              </a:lnSpc>
            </a:pPr>
            <a:r>
              <a:rPr lang="en-US" altLang="zh-CN" sz="2000" b="1">
                <a:latin typeface="+mj-lt"/>
                <a:ea typeface="Noto Sans S Chinese Regular" panose="020B0500000000000000" pitchFamily="34" charset="-122"/>
              </a:rPr>
              <a:t>1</a:t>
            </a:r>
            <a:endParaRPr lang="zh-CN" altLang="en-US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5881411" y="200987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140000"/>
              </a:lnSpc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</a:rPr>
              <a:t>2</a:t>
            </a:r>
            <a:endParaRPr lang="zh-CN" altLang="en-US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72" name="椭圆 71"/>
          <p:cNvSpPr/>
          <p:nvPr/>
        </p:nvSpPr>
        <p:spPr>
          <a:xfrm>
            <a:off x="5881411" y="296427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140000"/>
              </a:lnSpc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</a:rPr>
              <a:t>3</a:t>
            </a:r>
            <a:endParaRPr lang="zh-CN" altLang="en-US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6779260" y="200596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突破瓶颈：小样本数据挖掘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6779260" y="295656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码行为：破局稀缺</a:t>
            </a:r>
            <a:r>
              <a:rPr lang="en-US" altLang="zh-CN" sz="2000" dirty="0" smtClean="0">
                <a:solidFill>
                  <a:schemeClr val="tx1"/>
                </a:solidFill>
              </a:rPr>
              <a:t>&amp;</a:t>
            </a:r>
            <a:r>
              <a:rPr lang="zh-CN" altLang="en-US" sz="2000" dirty="0" smtClean="0">
                <a:solidFill>
                  <a:schemeClr val="tx1"/>
                </a:solidFill>
              </a:rPr>
              <a:t>精选标签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2" name="椭圆 1"/>
          <p:cNvSpPr/>
          <p:nvPr/>
        </p:nvSpPr>
        <p:spPr>
          <a:xfrm>
            <a:off x="5882046" y="391868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4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79895" y="390715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实测胜算：AB实验测试效果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9" name="椭圆 8"/>
          <p:cNvSpPr/>
          <p:nvPr/>
        </p:nvSpPr>
        <p:spPr>
          <a:xfrm>
            <a:off x="5882046" y="487308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5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79895" y="485775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析风险：构建可解释的模型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SpPr txBox="1"/>
          <p:nvPr>
            <p:custDataLst>
              <p:tags r:id="rId1"/>
            </p:custDataLst>
          </p:nvPr>
        </p:nvSpPr>
        <p:spPr>
          <a:xfrm>
            <a:off x="3824523" y="1777629"/>
            <a:ext cx="3849931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/>
              <a:t>问一下</a:t>
            </a:r>
            <a:endParaRPr lang="zh-CN" altLang="en-US" sz="3200" dirty="0"/>
          </a:p>
        </p:txBody>
      </p: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/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/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/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/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/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/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/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/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/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/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/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/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/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/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/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/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/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/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/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/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/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/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/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/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/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/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/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/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/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/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/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/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/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/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/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/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/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/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/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/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/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/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/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/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/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/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/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/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/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/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/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/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/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/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/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/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/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/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/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/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/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/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/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/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56260" y="2854325"/>
            <a:ext cx="11079480" cy="53213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8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大家在项目过程中是否遇到必须要模型可解释性的问题？</a:t>
            </a:r>
            <a:endParaRPr lang="zh-CN" altLang="en-US" sz="18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pic>
        <p:nvPicPr>
          <p:cNvPr id="76" name="图片 7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3290" y="3395345"/>
            <a:ext cx="7854950" cy="32893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揭示机理：黑盒模型的局限</a:t>
            </a:r>
            <a:endParaRPr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什么是可解释性</a:t>
            </a:r>
            <a:endParaRPr lang="zh-CN" altLang="en-US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967105" y="334137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sz="1400" b="1" dirty="0" smtClean="0"/>
              <a:t>业务需要</a:t>
            </a:r>
            <a:endParaRPr lang="zh-CN" sz="1400" b="1" dirty="0" smtClean="0"/>
          </a:p>
        </p:txBody>
      </p:sp>
      <p:sp>
        <p:nvSpPr>
          <p:cNvPr id="15" name="文本框 14"/>
          <p:cNvSpPr txBox="1"/>
          <p:nvPr/>
        </p:nvSpPr>
        <p:spPr>
          <a:xfrm>
            <a:off x="1264920" y="3705860"/>
            <a:ext cx="5424805" cy="36449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sz="1400" dirty="0" smtClean="0"/>
              <a:t>如新单投诉模型，客户在承保时被判定有风险而被拦截</a:t>
            </a:r>
            <a:endParaRPr lang="zh-CN" sz="1400" dirty="0" smtClean="0"/>
          </a:p>
        </p:txBody>
      </p:sp>
      <p:sp>
        <p:nvSpPr>
          <p:cNvPr id="17" name="文本框 16"/>
          <p:cNvSpPr txBox="1"/>
          <p:nvPr/>
        </p:nvSpPr>
        <p:spPr>
          <a:xfrm>
            <a:off x="1839595" y="4032250"/>
            <a:ext cx="5424805" cy="73787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fontAlgn="auto">
              <a:lnSpc>
                <a:spcPts val="2300"/>
              </a:lnSpc>
              <a:buFont typeface="Arial" panose="020B0604020202020204" pitchFamily="34" charset="0"/>
              <a:buNone/>
            </a:pPr>
            <a:r>
              <a:rPr lang="zh-CN" sz="1400" dirty="0" smtClean="0"/>
              <a:t>①代理人、客户会质疑为什么被拦截</a:t>
            </a:r>
            <a:endParaRPr lang="zh-CN" sz="1400" dirty="0" smtClean="0"/>
          </a:p>
          <a:p>
            <a:pPr marL="106045" indent="0" fontAlgn="auto">
              <a:lnSpc>
                <a:spcPts val="2300"/>
              </a:lnSpc>
              <a:buFont typeface="Arial" panose="020B0604020202020204" pitchFamily="34" charset="0"/>
              <a:buNone/>
            </a:pPr>
            <a:r>
              <a:rPr lang="zh-CN" sz="1400" dirty="0" smtClean="0"/>
              <a:t>②拦截后的契调需要结合风险原因核实</a:t>
            </a:r>
            <a:endParaRPr lang="zh-CN" sz="1400" dirty="0" smtClean="0"/>
          </a:p>
        </p:txBody>
      </p:sp>
      <p:sp>
        <p:nvSpPr>
          <p:cNvPr id="18" name="文本框 17"/>
          <p:cNvSpPr txBox="1"/>
          <p:nvPr/>
        </p:nvSpPr>
        <p:spPr>
          <a:xfrm>
            <a:off x="967105" y="483425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sz="1400" b="1" dirty="0" smtClean="0"/>
              <a:t>决策需要</a:t>
            </a:r>
            <a:endParaRPr lang="zh-CN" sz="1400" b="1" dirty="0" smtClean="0"/>
          </a:p>
        </p:txBody>
      </p:sp>
      <p:sp>
        <p:nvSpPr>
          <p:cNvPr id="22" name="文本框 21"/>
          <p:cNvSpPr txBox="1"/>
          <p:nvPr/>
        </p:nvSpPr>
        <p:spPr>
          <a:xfrm>
            <a:off x="1264920" y="5203190"/>
            <a:ext cx="5424805" cy="36449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sz="1400" dirty="0" smtClean="0"/>
              <a:t>有些场景，业务方领导（特别是机构）需要可解释性决策</a:t>
            </a:r>
            <a:endParaRPr lang="zh-CN" sz="1400" dirty="0" smtClean="0"/>
          </a:p>
        </p:txBody>
      </p:sp>
      <p:sp>
        <p:nvSpPr>
          <p:cNvPr id="2" name="文本框 1"/>
          <p:cNvSpPr txBox="1"/>
          <p:nvPr/>
        </p:nvSpPr>
        <p:spPr>
          <a:xfrm>
            <a:off x="967105" y="1489710"/>
            <a:ext cx="10044430" cy="8153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可解释性是指模型额输出结果可以被简单、直观、易于理解的方式解释</a:t>
            </a:r>
            <a:endParaRPr lang="zh-CN" altLang="en-US" sz="1400" dirty="0" smtClean="0"/>
          </a:p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他可以帮忙用户更好地理解模型的结果，提高模型的可信度和可靠性</a:t>
            </a:r>
            <a:endParaRPr lang="zh-CN" altLang="en-US" sz="1400" dirty="0" smtClean="0"/>
          </a:p>
        </p:txBody>
      </p:sp>
      <p:sp>
        <p:nvSpPr>
          <p:cNvPr id="32" name="文本框 31"/>
          <p:cNvSpPr txBox="1"/>
          <p:nvPr/>
        </p:nvSpPr>
        <p:spPr>
          <a:xfrm>
            <a:off x="938530" y="273875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为什么要可解释性</a:t>
            </a:r>
            <a:endParaRPr lang="zh-CN" altLang="en-US" sz="1800" dirty="0" smtClean="0"/>
          </a:p>
        </p:txBody>
      </p:sp>
      <p:grpSp>
        <p:nvGrpSpPr>
          <p:cNvPr id="33" name="组合 32"/>
          <p:cNvGrpSpPr/>
          <p:nvPr/>
        </p:nvGrpSpPr>
        <p:grpSpPr>
          <a:xfrm>
            <a:off x="450215" y="2675255"/>
            <a:ext cx="389255" cy="427990"/>
            <a:chOff x="450391" y="1977754"/>
            <a:chExt cx="465233" cy="511985"/>
          </a:xfrm>
        </p:grpSpPr>
        <p:sp>
          <p:nvSpPr>
            <p:cNvPr id="34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5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7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8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9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0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1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  <p:bldLst>
      <p:bldP spid="13" grpId="1"/>
      <p:bldP spid="15" grpId="1"/>
      <p:bldP spid="17" grpId="1"/>
      <p:bldP spid="18" grpId="1"/>
      <p:bldP spid="22" grpId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确拆解</a:t>
            </a: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可解释性的分类</a:t>
            </a:r>
            <a:endParaRPr 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2645410" y="1164590"/>
            <a:ext cx="1939290" cy="41211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 algn="r">
              <a:buFont typeface="Arial" panose="020B0604020202020204" pitchFamily="34" charset="0"/>
              <a:buNone/>
            </a:pPr>
            <a:r>
              <a:rPr lang="zh-CN" altLang="en-US" sz="1600" b="1" dirty="0" smtClean="0"/>
              <a:t>特征可解释性</a:t>
            </a:r>
            <a:endParaRPr lang="zh-CN" altLang="en-US" sz="1600" b="1" dirty="0" smtClean="0"/>
          </a:p>
        </p:txBody>
      </p:sp>
      <p:sp>
        <p:nvSpPr>
          <p:cNvPr id="23" name="文本框 22"/>
          <p:cNvSpPr txBox="1"/>
          <p:nvPr/>
        </p:nvSpPr>
        <p:spPr>
          <a:xfrm>
            <a:off x="1809115" y="1651000"/>
            <a:ext cx="3889375" cy="41211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dirty="0" smtClean="0"/>
              <a:t>模型中哪些特征对输出结果有较大影响</a:t>
            </a:r>
            <a:endParaRPr lang="zh-CN" altLang="en-US" sz="1400" dirty="0" smtClean="0"/>
          </a:p>
        </p:txBody>
      </p:sp>
      <p:sp>
        <p:nvSpPr>
          <p:cNvPr id="25" name="文本框 24"/>
          <p:cNvSpPr txBox="1"/>
          <p:nvPr/>
        </p:nvSpPr>
        <p:spPr>
          <a:xfrm>
            <a:off x="7648575" y="3077210"/>
            <a:ext cx="1686560" cy="41211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600" b="1" dirty="0" smtClean="0"/>
              <a:t>模型解释性</a:t>
            </a:r>
            <a:endParaRPr lang="zh-CN" altLang="en-US" sz="1600" b="1" dirty="0" smtClean="0"/>
          </a:p>
        </p:txBody>
      </p:sp>
      <p:sp>
        <p:nvSpPr>
          <p:cNvPr id="26" name="文本框 25"/>
          <p:cNvSpPr txBox="1"/>
          <p:nvPr/>
        </p:nvSpPr>
        <p:spPr>
          <a:xfrm>
            <a:off x="7228205" y="3546475"/>
            <a:ext cx="4416425" cy="41211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dirty="0" smtClean="0"/>
              <a:t>模型的决策过程，如决策树，用树状图形式展示</a:t>
            </a:r>
            <a:endParaRPr lang="zh-CN" altLang="en-US" sz="1400" dirty="0" smtClean="0"/>
          </a:p>
        </p:txBody>
      </p:sp>
      <p:sp>
        <p:nvSpPr>
          <p:cNvPr id="27" name="文本框 26"/>
          <p:cNvSpPr txBox="1"/>
          <p:nvPr/>
        </p:nvSpPr>
        <p:spPr>
          <a:xfrm>
            <a:off x="2898140" y="4051300"/>
            <a:ext cx="1686560" cy="41211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 algn="r">
              <a:buFont typeface="Arial" panose="020B0604020202020204" pitchFamily="34" charset="0"/>
              <a:buNone/>
            </a:pPr>
            <a:r>
              <a:rPr lang="zh-CN" altLang="en-US" sz="1600" b="1" dirty="0" smtClean="0"/>
              <a:t>预测解释性</a:t>
            </a:r>
            <a:endParaRPr lang="zh-CN" altLang="en-US" sz="1600" b="1" dirty="0" smtClean="0"/>
          </a:p>
        </p:txBody>
      </p:sp>
      <p:sp>
        <p:nvSpPr>
          <p:cNvPr id="28" name="文本框 27"/>
          <p:cNvSpPr txBox="1"/>
          <p:nvPr/>
        </p:nvSpPr>
        <p:spPr>
          <a:xfrm>
            <a:off x="564515" y="4594225"/>
            <a:ext cx="4416425" cy="49085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 fontAlgn="auto">
              <a:lnSpc>
                <a:spcPts val="2300"/>
              </a:lnSpc>
              <a:buFont typeface="Arial" panose="020B0604020202020204" pitchFamily="34" charset="0"/>
              <a:buNone/>
            </a:pPr>
            <a:r>
              <a:rPr lang="zh-CN" altLang="en-US" sz="1400" dirty="0" smtClean="0"/>
              <a:t>解释模型对特定输入数据的预测结果。如线性模型，可以看到输入特征和输出结果的关系</a:t>
            </a:r>
            <a:endParaRPr lang="zh-CN" altLang="en-US" sz="1400" dirty="0" smtClean="0"/>
          </a:p>
        </p:txBody>
      </p:sp>
      <p:sp>
        <p:nvSpPr>
          <p:cNvPr id="30" name="任意多边形: 形状 8"/>
          <p:cNvSpPr/>
          <p:nvPr/>
        </p:nvSpPr>
        <p:spPr bwMode="auto">
          <a:xfrm>
            <a:off x="4664393" y="1113790"/>
            <a:ext cx="511175" cy="512763"/>
          </a:xfrm>
          <a:custGeom>
            <a:avLst/>
            <a:gdLst>
              <a:gd name="T0" fmla="*/ 507 w 515"/>
              <a:gd name="T1" fmla="*/ 273 h 515"/>
              <a:gd name="T2" fmla="*/ 243 w 515"/>
              <a:gd name="T3" fmla="*/ 507 h 515"/>
              <a:gd name="T4" fmla="*/ 8 w 515"/>
              <a:gd name="T5" fmla="*/ 243 h 515"/>
              <a:gd name="T6" fmla="*/ 273 w 515"/>
              <a:gd name="T7" fmla="*/ 8 h 515"/>
              <a:gd name="T8" fmla="*/ 507 w 515"/>
              <a:gd name="T9" fmla="*/ 273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5" h="515">
                <a:moveTo>
                  <a:pt x="507" y="273"/>
                </a:moveTo>
                <a:cubicBezTo>
                  <a:pt x="499" y="410"/>
                  <a:pt x="380" y="515"/>
                  <a:pt x="243" y="507"/>
                </a:cubicBezTo>
                <a:cubicBezTo>
                  <a:pt x="105" y="499"/>
                  <a:pt x="0" y="380"/>
                  <a:pt x="8" y="243"/>
                </a:cubicBezTo>
                <a:cubicBezTo>
                  <a:pt x="17" y="105"/>
                  <a:pt x="135" y="0"/>
                  <a:pt x="273" y="8"/>
                </a:cubicBezTo>
                <a:cubicBezTo>
                  <a:pt x="410" y="17"/>
                  <a:pt x="515" y="135"/>
                  <a:pt x="507" y="273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20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华文楷体" panose="02010600040101010101" pitchFamily="2" charset="-122"/>
              </a:rPr>
              <a:t>01</a:t>
            </a:r>
            <a:endParaRPr lang="zh-CN" altLang="en-US" sz="20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ea typeface="华文楷体" panose="02010600040101010101" pitchFamily="2" charset="-122"/>
            </a:endParaRPr>
          </a:p>
        </p:txBody>
      </p:sp>
      <p:sp>
        <p:nvSpPr>
          <p:cNvPr id="31" name="任意多边形: 形状 8"/>
          <p:cNvSpPr/>
          <p:nvPr/>
        </p:nvSpPr>
        <p:spPr bwMode="auto">
          <a:xfrm>
            <a:off x="7326313" y="3035935"/>
            <a:ext cx="511175" cy="512763"/>
          </a:xfrm>
          <a:custGeom>
            <a:avLst/>
            <a:gdLst>
              <a:gd name="T0" fmla="*/ 507 w 515"/>
              <a:gd name="T1" fmla="*/ 273 h 515"/>
              <a:gd name="T2" fmla="*/ 243 w 515"/>
              <a:gd name="T3" fmla="*/ 507 h 515"/>
              <a:gd name="T4" fmla="*/ 8 w 515"/>
              <a:gd name="T5" fmla="*/ 243 h 515"/>
              <a:gd name="T6" fmla="*/ 273 w 515"/>
              <a:gd name="T7" fmla="*/ 8 h 515"/>
              <a:gd name="T8" fmla="*/ 507 w 515"/>
              <a:gd name="T9" fmla="*/ 273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5" h="515">
                <a:moveTo>
                  <a:pt x="507" y="273"/>
                </a:moveTo>
                <a:cubicBezTo>
                  <a:pt x="499" y="410"/>
                  <a:pt x="380" y="515"/>
                  <a:pt x="243" y="507"/>
                </a:cubicBezTo>
                <a:cubicBezTo>
                  <a:pt x="105" y="499"/>
                  <a:pt x="0" y="380"/>
                  <a:pt x="8" y="243"/>
                </a:cubicBezTo>
                <a:cubicBezTo>
                  <a:pt x="17" y="105"/>
                  <a:pt x="135" y="0"/>
                  <a:pt x="273" y="8"/>
                </a:cubicBezTo>
                <a:cubicBezTo>
                  <a:pt x="410" y="17"/>
                  <a:pt x="515" y="135"/>
                  <a:pt x="507" y="273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20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华文楷体" panose="02010600040101010101" pitchFamily="2" charset="-122"/>
              </a:rPr>
              <a:t>02</a:t>
            </a:r>
            <a:endParaRPr lang="zh-CN" altLang="en-US" sz="20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ea typeface="华文楷体" panose="02010600040101010101" pitchFamily="2" charset="-122"/>
            </a:endParaRPr>
          </a:p>
        </p:txBody>
      </p:sp>
      <p:sp>
        <p:nvSpPr>
          <p:cNvPr id="42" name="任意多边形: 形状 8"/>
          <p:cNvSpPr/>
          <p:nvPr/>
        </p:nvSpPr>
        <p:spPr bwMode="auto">
          <a:xfrm>
            <a:off x="4664393" y="4001135"/>
            <a:ext cx="511175" cy="512763"/>
          </a:xfrm>
          <a:custGeom>
            <a:avLst/>
            <a:gdLst>
              <a:gd name="T0" fmla="*/ 507 w 515"/>
              <a:gd name="T1" fmla="*/ 273 h 515"/>
              <a:gd name="T2" fmla="*/ 243 w 515"/>
              <a:gd name="T3" fmla="*/ 507 h 515"/>
              <a:gd name="T4" fmla="*/ 8 w 515"/>
              <a:gd name="T5" fmla="*/ 243 h 515"/>
              <a:gd name="T6" fmla="*/ 273 w 515"/>
              <a:gd name="T7" fmla="*/ 8 h 515"/>
              <a:gd name="T8" fmla="*/ 507 w 515"/>
              <a:gd name="T9" fmla="*/ 273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5" h="515">
                <a:moveTo>
                  <a:pt x="507" y="273"/>
                </a:moveTo>
                <a:cubicBezTo>
                  <a:pt x="499" y="410"/>
                  <a:pt x="380" y="515"/>
                  <a:pt x="243" y="507"/>
                </a:cubicBezTo>
                <a:cubicBezTo>
                  <a:pt x="105" y="499"/>
                  <a:pt x="0" y="380"/>
                  <a:pt x="8" y="243"/>
                </a:cubicBezTo>
                <a:cubicBezTo>
                  <a:pt x="17" y="105"/>
                  <a:pt x="135" y="0"/>
                  <a:pt x="273" y="8"/>
                </a:cubicBezTo>
                <a:cubicBezTo>
                  <a:pt x="410" y="17"/>
                  <a:pt x="515" y="135"/>
                  <a:pt x="507" y="273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20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华文楷体" panose="02010600040101010101" pitchFamily="2" charset="-122"/>
              </a:rPr>
              <a:t>03</a:t>
            </a:r>
            <a:endParaRPr lang="zh-CN" altLang="en-US" sz="20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ea typeface="华文楷体" panose="02010600040101010101" pitchFamily="2" charset="-122"/>
            </a:endParaRPr>
          </a:p>
        </p:txBody>
      </p:sp>
      <p:sp>
        <p:nvSpPr>
          <p:cNvPr id="2" name="MH_Other_1"/>
          <p:cNvSpPr/>
          <p:nvPr>
            <p:custDataLst>
              <p:tags r:id="rId1"/>
            </p:custDataLst>
          </p:nvPr>
        </p:nvSpPr>
        <p:spPr>
          <a:xfrm>
            <a:off x="5645150" y="2780836"/>
            <a:ext cx="1003300" cy="1003300"/>
          </a:xfrm>
          <a:prstGeom prst="ellipse">
            <a:avLst/>
          </a:prstGeom>
          <a:solidFill>
            <a:srgbClr val="FFFFFF"/>
          </a:solidFill>
          <a:ln w="3175">
            <a:solidFill>
              <a:srgbClr val="DDDDDD"/>
            </a:solidFill>
          </a:ln>
          <a:effectLst>
            <a:outerShdw dist="635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0030101010101" pitchFamily="49" charset="-122"/>
            </a:endParaRPr>
          </a:p>
        </p:txBody>
      </p:sp>
      <p:sp>
        <p:nvSpPr>
          <p:cNvPr id="6" name="MH_Other_2"/>
          <p:cNvSpPr/>
          <p:nvPr>
            <p:custDataLst>
              <p:tags r:id="rId2"/>
            </p:custDataLst>
          </p:nvPr>
        </p:nvSpPr>
        <p:spPr>
          <a:xfrm>
            <a:off x="5734627" y="2870345"/>
            <a:ext cx="825557" cy="825557"/>
          </a:xfrm>
          <a:prstGeom prst="ellipse">
            <a:avLst/>
          </a:prstGeom>
          <a:solidFill>
            <a:srgbClr val="FE7A06"/>
          </a:solidFill>
          <a:ln>
            <a:noFill/>
          </a:ln>
          <a:effectLst>
            <a:innerShdw dist="76200" dir="13500000">
              <a:prstClr val="black">
                <a:alpha val="1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0030101010101" pitchFamily="49" charset="-122"/>
            </a:endParaRPr>
          </a:p>
        </p:txBody>
      </p:sp>
      <p:sp>
        <p:nvSpPr>
          <p:cNvPr id="7" name="MH_Other_3"/>
          <p:cNvSpPr/>
          <p:nvPr>
            <p:custDataLst>
              <p:tags r:id="rId3"/>
            </p:custDataLst>
          </p:nvPr>
        </p:nvSpPr>
        <p:spPr>
          <a:xfrm>
            <a:off x="6704013" y="2855449"/>
            <a:ext cx="190500" cy="855663"/>
          </a:xfrm>
          <a:custGeom>
            <a:avLst/>
            <a:gdLst>
              <a:gd name="connsiteX0" fmla="*/ 0 w 200069"/>
              <a:gd name="connsiteY0" fmla="*/ 0 h 904875"/>
              <a:gd name="connsiteX1" fmla="*/ 200025 w 200069"/>
              <a:gd name="connsiteY1" fmla="*/ 490538 h 904875"/>
              <a:gd name="connsiteX2" fmla="*/ 14288 w 200069"/>
              <a:gd name="connsiteY2" fmla="*/ 904875 h 904875"/>
              <a:gd name="connsiteX0-1" fmla="*/ 0 w 202450"/>
              <a:gd name="connsiteY0-2" fmla="*/ 0 h 904875"/>
              <a:gd name="connsiteX1-3" fmla="*/ 202407 w 202450"/>
              <a:gd name="connsiteY1-4" fmla="*/ 471488 h 904875"/>
              <a:gd name="connsiteX2-5" fmla="*/ 14288 w 202450"/>
              <a:gd name="connsiteY2-6" fmla="*/ 904875 h 904875"/>
              <a:gd name="connsiteX0-7" fmla="*/ 0 w 202558"/>
              <a:gd name="connsiteY0-8" fmla="*/ 0 h 904875"/>
              <a:gd name="connsiteX1-9" fmla="*/ 202407 w 202558"/>
              <a:gd name="connsiteY1-10" fmla="*/ 471488 h 904875"/>
              <a:gd name="connsiteX2-11" fmla="*/ 14288 w 202558"/>
              <a:gd name="connsiteY2-12" fmla="*/ 904875 h 904875"/>
              <a:gd name="connsiteX0-13" fmla="*/ 0 w 204846"/>
              <a:gd name="connsiteY0-14" fmla="*/ 0 h 897731"/>
              <a:gd name="connsiteX1-15" fmla="*/ 204788 w 204846"/>
              <a:gd name="connsiteY1-16" fmla="*/ 464344 h 897731"/>
              <a:gd name="connsiteX2-17" fmla="*/ 16669 w 204846"/>
              <a:gd name="connsiteY2-18" fmla="*/ 897731 h 897731"/>
              <a:gd name="connsiteX0-19" fmla="*/ 0 w 204846"/>
              <a:gd name="connsiteY0-20" fmla="*/ 0 h 897731"/>
              <a:gd name="connsiteX1-21" fmla="*/ 204788 w 204846"/>
              <a:gd name="connsiteY1-22" fmla="*/ 464344 h 897731"/>
              <a:gd name="connsiteX2-23" fmla="*/ 16669 w 204846"/>
              <a:gd name="connsiteY2-24" fmla="*/ 897731 h 897731"/>
              <a:gd name="connsiteX0-25" fmla="*/ 0 w 204798"/>
              <a:gd name="connsiteY0-26" fmla="*/ 0 h 916781"/>
              <a:gd name="connsiteX1-27" fmla="*/ 204788 w 204798"/>
              <a:gd name="connsiteY1-28" fmla="*/ 464344 h 916781"/>
              <a:gd name="connsiteX2-29" fmla="*/ 7144 w 204798"/>
              <a:gd name="connsiteY2-30" fmla="*/ 916781 h 916781"/>
              <a:gd name="connsiteX0-31" fmla="*/ 0 w 204800"/>
              <a:gd name="connsiteY0-32" fmla="*/ 0 h 916781"/>
              <a:gd name="connsiteX1-33" fmla="*/ 204788 w 204800"/>
              <a:gd name="connsiteY1-34" fmla="*/ 464344 h 916781"/>
              <a:gd name="connsiteX2-35" fmla="*/ 7144 w 204800"/>
              <a:gd name="connsiteY2-36" fmla="*/ 916781 h 91678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</a:cxnLst>
            <a:rect l="l" t="t" r="r" b="b"/>
            <a:pathLst>
              <a:path w="204800" h="916781">
                <a:moveTo>
                  <a:pt x="0" y="0"/>
                </a:moveTo>
                <a:cubicBezTo>
                  <a:pt x="158353" y="148432"/>
                  <a:pt x="203597" y="311547"/>
                  <a:pt x="204788" y="464344"/>
                </a:cubicBezTo>
                <a:cubicBezTo>
                  <a:pt x="205979" y="617141"/>
                  <a:pt x="120253" y="789782"/>
                  <a:pt x="7144" y="916781"/>
                </a:cubicBezTo>
              </a:path>
            </a:pathLst>
          </a:custGeom>
          <a:noFill/>
          <a:ln w="25400">
            <a:solidFill>
              <a:srgbClr val="FE7A06"/>
            </a:solidFill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0030101010101" pitchFamily="49" charset="-122"/>
            </a:endParaRPr>
          </a:p>
        </p:txBody>
      </p:sp>
      <p:cxnSp>
        <p:nvCxnSpPr>
          <p:cNvPr id="11" name="MH_Other_4"/>
          <p:cNvCxnSpPr/>
          <p:nvPr>
            <p:custDataLst>
              <p:tags r:id="rId4"/>
            </p:custDataLst>
          </p:nvPr>
        </p:nvCxnSpPr>
        <p:spPr>
          <a:xfrm>
            <a:off x="6892925" y="3280898"/>
            <a:ext cx="215900" cy="0"/>
          </a:xfrm>
          <a:prstGeom prst="line">
            <a:avLst/>
          </a:prstGeom>
          <a:ln w="25400">
            <a:solidFill>
              <a:srgbClr val="FE7A06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H_Other_5"/>
          <p:cNvSpPr/>
          <p:nvPr>
            <p:custDataLst>
              <p:tags r:id="rId5"/>
            </p:custDataLst>
          </p:nvPr>
        </p:nvSpPr>
        <p:spPr>
          <a:xfrm>
            <a:off x="6834189" y="3222162"/>
            <a:ext cx="117475" cy="117475"/>
          </a:xfrm>
          <a:prstGeom prst="ellipse">
            <a:avLst/>
          </a:prstGeom>
          <a:solidFill>
            <a:srgbClr val="FE7A06"/>
          </a:solidFill>
          <a:ln>
            <a:solidFill>
              <a:srgbClr val="FE7A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0030101010101" pitchFamily="49" charset="-122"/>
            </a:endParaRPr>
          </a:p>
        </p:txBody>
      </p:sp>
      <p:sp>
        <p:nvSpPr>
          <p:cNvPr id="14" name="MH_Other_6"/>
          <p:cNvSpPr/>
          <p:nvPr>
            <p:custDataLst>
              <p:tags r:id="rId6"/>
            </p:custDataLst>
          </p:nvPr>
        </p:nvSpPr>
        <p:spPr>
          <a:xfrm>
            <a:off x="5940425" y="3139612"/>
            <a:ext cx="412750" cy="282575"/>
          </a:xfrm>
          <a:custGeom>
            <a:avLst/>
            <a:gdLst>
              <a:gd name="connsiteX0" fmla="*/ 1720704 w 1721074"/>
              <a:gd name="connsiteY0" fmla="*/ 0 h 1180530"/>
              <a:gd name="connsiteX1" fmla="*/ 1721074 w 1721074"/>
              <a:gd name="connsiteY1" fmla="*/ 328961 h 1180530"/>
              <a:gd name="connsiteX2" fmla="*/ 1609393 w 1721074"/>
              <a:gd name="connsiteY2" fmla="*/ 253106 h 1180530"/>
              <a:gd name="connsiteX3" fmla="*/ 1153934 w 1721074"/>
              <a:gd name="connsiteY3" fmla="*/ 933995 h 1180530"/>
              <a:gd name="connsiteX4" fmla="*/ 899597 w 1721074"/>
              <a:gd name="connsiteY4" fmla="*/ 519521 h 1180530"/>
              <a:gd name="connsiteX5" fmla="*/ 532223 w 1721074"/>
              <a:gd name="connsiteY5" fmla="*/ 1009354 h 1180530"/>
              <a:gd name="connsiteX6" fmla="*/ 292016 w 1721074"/>
              <a:gd name="connsiteY6" fmla="*/ 792697 h 1180530"/>
              <a:gd name="connsiteX7" fmla="*/ 0 w 1721074"/>
              <a:gd name="connsiteY7" fmla="*/ 1180530 h 1180530"/>
              <a:gd name="connsiteX8" fmla="*/ 0 w 1721074"/>
              <a:gd name="connsiteY8" fmla="*/ 996382 h 1180530"/>
              <a:gd name="connsiteX9" fmla="*/ 277886 w 1721074"/>
              <a:gd name="connsiteY9" fmla="*/ 613720 h 1180530"/>
              <a:gd name="connsiteX10" fmla="*/ 503963 w 1721074"/>
              <a:gd name="connsiteY10" fmla="*/ 839796 h 1180530"/>
              <a:gd name="connsiteX11" fmla="*/ 923147 w 1721074"/>
              <a:gd name="connsiteY11" fmla="*/ 316994 h 1180530"/>
              <a:gd name="connsiteX12" fmla="*/ 1158644 w 1721074"/>
              <a:gd name="connsiteY12" fmla="*/ 731468 h 1180530"/>
              <a:gd name="connsiteX13" fmla="*/ 1529274 w 1721074"/>
              <a:gd name="connsiteY13" fmla="*/ 198688 h 1180530"/>
              <a:gd name="connsiteX14" fmla="*/ 1414772 w 1721074"/>
              <a:gd name="connsiteY14" fmla="*/ 120917 h 1180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721074" h="1180530">
                <a:moveTo>
                  <a:pt x="1720704" y="0"/>
                </a:moveTo>
                <a:lnTo>
                  <a:pt x="1721074" y="328961"/>
                </a:lnTo>
                <a:lnTo>
                  <a:pt x="1609393" y="253106"/>
                </a:lnTo>
                <a:lnTo>
                  <a:pt x="1153934" y="933995"/>
                </a:lnTo>
                <a:lnTo>
                  <a:pt x="899597" y="519521"/>
                </a:lnTo>
                <a:lnTo>
                  <a:pt x="532223" y="1009354"/>
                </a:lnTo>
                <a:lnTo>
                  <a:pt x="292016" y="792697"/>
                </a:lnTo>
                <a:lnTo>
                  <a:pt x="0" y="1180530"/>
                </a:lnTo>
                <a:lnTo>
                  <a:pt x="0" y="996382"/>
                </a:lnTo>
                <a:lnTo>
                  <a:pt x="277886" y="613720"/>
                </a:lnTo>
                <a:lnTo>
                  <a:pt x="503963" y="839796"/>
                </a:lnTo>
                <a:lnTo>
                  <a:pt x="923147" y="316994"/>
                </a:lnTo>
                <a:lnTo>
                  <a:pt x="1158644" y="731468"/>
                </a:lnTo>
                <a:lnTo>
                  <a:pt x="1529274" y="198688"/>
                </a:lnTo>
                <a:lnTo>
                  <a:pt x="1414772" y="1209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5" tIns="25718" rIns="51435" bIns="25718"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5" name="MH_Other_7"/>
          <p:cNvSpPr/>
          <p:nvPr>
            <p:custDataLst>
              <p:tags r:id="rId7"/>
            </p:custDataLst>
          </p:nvPr>
        </p:nvSpPr>
        <p:spPr>
          <a:xfrm flipH="1">
            <a:off x="5557838" y="1369549"/>
            <a:ext cx="1001712" cy="1001713"/>
          </a:xfrm>
          <a:prstGeom prst="ellipse">
            <a:avLst/>
          </a:prstGeom>
          <a:solidFill>
            <a:srgbClr val="FFFFFF"/>
          </a:solidFill>
          <a:ln w="3175">
            <a:solidFill>
              <a:srgbClr val="DDDDDD"/>
            </a:solidFill>
          </a:ln>
          <a:effectLst>
            <a:outerShdw dist="635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0030101010101" pitchFamily="49" charset="-122"/>
            </a:endParaRPr>
          </a:p>
        </p:txBody>
      </p:sp>
      <p:sp>
        <p:nvSpPr>
          <p:cNvPr id="16" name="MH_Other_8"/>
          <p:cNvSpPr/>
          <p:nvPr>
            <p:custDataLst>
              <p:tags r:id="rId8"/>
            </p:custDataLst>
          </p:nvPr>
        </p:nvSpPr>
        <p:spPr>
          <a:xfrm flipH="1">
            <a:off x="5645856" y="1457556"/>
            <a:ext cx="825557" cy="825557"/>
          </a:xfrm>
          <a:prstGeom prst="ellipse">
            <a:avLst/>
          </a:prstGeom>
          <a:solidFill>
            <a:srgbClr val="00A8E7"/>
          </a:solidFill>
          <a:ln>
            <a:noFill/>
          </a:ln>
          <a:effectLst>
            <a:innerShdw dist="76200" dir="13500000">
              <a:prstClr val="black">
                <a:alpha val="1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0030101010101" pitchFamily="49" charset="-122"/>
            </a:endParaRPr>
          </a:p>
        </p:txBody>
      </p:sp>
      <p:sp>
        <p:nvSpPr>
          <p:cNvPr id="17" name="MH_Other_9"/>
          <p:cNvSpPr/>
          <p:nvPr>
            <p:custDataLst>
              <p:tags r:id="rId9"/>
            </p:custDataLst>
          </p:nvPr>
        </p:nvSpPr>
        <p:spPr>
          <a:xfrm flipH="1">
            <a:off x="5310189" y="1442574"/>
            <a:ext cx="192087" cy="855663"/>
          </a:xfrm>
          <a:custGeom>
            <a:avLst/>
            <a:gdLst>
              <a:gd name="connsiteX0" fmla="*/ 0 w 200069"/>
              <a:gd name="connsiteY0" fmla="*/ 0 h 904875"/>
              <a:gd name="connsiteX1" fmla="*/ 200025 w 200069"/>
              <a:gd name="connsiteY1" fmla="*/ 490538 h 904875"/>
              <a:gd name="connsiteX2" fmla="*/ 14288 w 200069"/>
              <a:gd name="connsiteY2" fmla="*/ 904875 h 904875"/>
              <a:gd name="connsiteX0-1" fmla="*/ 0 w 202450"/>
              <a:gd name="connsiteY0-2" fmla="*/ 0 h 904875"/>
              <a:gd name="connsiteX1-3" fmla="*/ 202407 w 202450"/>
              <a:gd name="connsiteY1-4" fmla="*/ 471488 h 904875"/>
              <a:gd name="connsiteX2-5" fmla="*/ 14288 w 202450"/>
              <a:gd name="connsiteY2-6" fmla="*/ 904875 h 904875"/>
              <a:gd name="connsiteX0-7" fmla="*/ 0 w 202558"/>
              <a:gd name="connsiteY0-8" fmla="*/ 0 h 904875"/>
              <a:gd name="connsiteX1-9" fmla="*/ 202407 w 202558"/>
              <a:gd name="connsiteY1-10" fmla="*/ 471488 h 904875"/>
              <a:gd name="connsiteX2-11" fmla="*/ 14288 w 202558"/>
              <a:gd name="connsiteY2-12" fmla="*/ 904875 h 904875"/>
              <a:gd name="connsiteX0-13" fmla="*/ 0 w 204846"/>
              <a:gd name="connsiteY0-14" fmla="*/ 0 h 897731"/>
              <a:gd name="connsiteX1-15" fmla="*/ 204788 w 204846"/>
              <a:gd name="connsiteY1-16" fmla="*/ 464344 h 897731"/>
              <a:gd name="connsiteX2-17" fmla="*/ 16669 w 204846"/>
              <a:gd name="connsiteY2-18" fmla="*/ 897731 h 897731"/>
              <a:gd name="connsiteX0-19" fmla="*/ 0 w 204846"/>
              <a:gd name="connsiteY0-20" fmla="*/ 0 h 897731"/>
              <a:gd name="connsiteX1-21" fmla="*/ 204788 w 204846"/>
              <a:gd name="connsiteY1-22" fmla="*/ 464344 h 897731"/>
              <a:gd name="connsiteX2-23" fmla="*/ 16669 w 204846"/>
              <a:gd name="connsiteY2-24" fmla="*/ 897731 h 897731"/>
              <a:gd name="connsiteX0-25" fmla="*/ 0 w 204798"/>
              <a:gd name="connsiteY0-26" fmla="*/ 0 h 916781"/>
              <a:gd name="connsiteX1-27" fmla="*/ 204788 w 204798"/>
              <a:gd name="connsiteY1-28" fmla="*/ 464344 h 916781"/>
              <a:gd name="connsiteX2-29" fmla="*/ 7144 w 204798"/>
              <a:gd name="connsiteY2-30" fmla="*/ 916781 h 916781"/>
              <a:gd name="connsiteX0-31" fmla="*/ 0 w 204800"/>
              <a:gd name="connsiteY0-32" fmla="*/ 0 h 916781"/>
              <a:gd name="connsiteX1-33" fmla="*/ 204788 w 204800"/>
              <a:gd name="connsiteY1-34" fmla="*/ 464344 h 916781"/>
              <a:gd name="connsiteX2-35" fmla="*/ 7144 w 204800"/>
              <a:gd name="connsiteY2-36" fmla="*/ 916781 h 91678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</a:cxnLst>
            <a:rect l="l" t="t" r="r" b="b"/>
            <a:pathLst>
              <a:path w="204800" h="916781">
                <a:moveTo>
                  <a:pt x="0" y="0"/>
                </a:moveTo>
                <a:cubicBezTo>
                  <a:pt x="158353" y="148432"/>
                  <a:pt x="203597" y="311547"/>
                  <a:pt x="204788" y="464344"/>
                </a:cubicBezTo>
                <a:cubicBezTo>
                  <a:pt x="205979" y="617141"/>
                  <a:pt x="120253" y="789782"/>
                  <a:pt x="7144" y="916781"/>
                </a:cubicBezTo>
              </a:path>
            </a:pathLst>
          </a:custGeom>
          <a:noFill/>
          <a:ln w="25400">
            <a:solidFill>
              <a:srgbClr val="00A8E7"/>
            </a:solidFill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0030101010101" pitchFamily="49" charset="-122"/>
            </a:endParaRPr>
          </a:p>
        </p:txBody>
      </p:sp>
      <p:cxnSp>
        <p:nvCxnSpPr>
          <p:cNvPr id="18" name="MH_Other_10"/>
          <p:cNvCxnSpPr/>
          <p:nvPr>
            <p:custDataLst>
              <p:tags r:id="rId10"/>
            </p:custDataLst>
          </p:nvPr>
        </p:nvCxnSpPr>
        <p:spPr>
          <a:xfrm flipH="1">
            <a:off x="5097463" y="1868023"/>
            <a:ext cx="215900" cy="0"/>
          </a:xfrm>
          <a:prstGeom prst="line">
            <a:avLst/>
          </a:prstGeom>
          <a:ln w="25400">
            <a:solidFill>
              <a:srgbClr val="00A8E7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H_Other_11"/>
          <p:cNvSpPr/>
          <p:nvPr>
            <p:custDataLst>
              <p:tags r:id="rId11"/>
            </p:custDataLst>
          </p:nvPr>
        </p:nvSpPr>
        <p:spPr>
          <a:xfrm flipH="1">
            <a:off x="5254626" y="1809287"/>
            <a:ext cx="117475" cy="117475"/>
          </a:xfrm>
          <a:prstGeom prst="ellipse">
            <a:avLst/>
          </a:prstGeom>
          <a:solidFill>
            <a:srgbClr val="00A8E7"/>
          </a:solidFill>
          <a:ln>
            <a:solidFill>
              <a:srgbClr val="00A8E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0030101010101" pitchFamily="49" charset="-122"/>
            </a:endParaRPr>
          </a:p>
        </p:txBody>
      </p:sp>
      <p:sp>
        <p:nvSpPr>
          <p:cNvPr id="20" name="MH_Other_13"/>
          <p:cNvSpPr/>
          <p:nvPr>
            <p:custDataLst>
              <p:tags r:id="rId12"/>
            </p:custDataLst>
          </p:nvPr>
        </p:nvSpPr>
        <p:spPr>
          <a:xfrm flipH="1">
            <a:off x="5557838" y="4174661"/>
            <a:ext cx="1001712" cy="1003300"/>
          </a:xfrm>
          <a:prstGeom prst="ellipse">
            <a:avLst/>
          </a:prstGeom>
          <a:solidFill>
            <a:srgbClr val="FFFFFF"/>
          </a:solidFill>
          <a:ln w="3175">
            <a:solidFill>
              <a:srgbClr val="DDDDDD"/>
            </a:solidFill>
          </a:ln>
          <a:effectLst>
            <a:outerShdw dist="635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0030101010101" pitchFamily="49" charset="-122"/>
            </a:endParaRPr>
          </a:p>
        </p:txBody>
      </p:sp>
      <p:sp>
        <p:nvSpPr>
          <p:cNvPr id="21" name="MH_Other_14"/>
          <p:cNvSpPr/>
          <p:nvPr>
            <p:custDataLst>
              <p:tags r:id="rId13"/>
            </p:custDataLst>
          </p:nvPr>
        </p:nvSpPr>
        <p:spPr>
          <a:xfrm flipH="1">
            <a:off x="5645856" y="4263160"/>
            <a:ext cx="825557" cy="825557"/>
          </a:xfrm>
          <a:prstGeom prst="ellipse">
            <a:avLst/>
          </a:prstGeom>
          <a:solidFill>
            <a:srgbClr val="58B933"/>
          </a:solidFill>
          <a:ln>
            <a:noFill/>
          </a:ln>
          <a:effectLst>
            <a:innerShdw dist="76200" dir="13500000">
              <a:prstClr val="black">
                <a:alpha val="1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0030101010101" pitchFamily="49" charset="-122"/>
            </a:endParaRPr>
          </a:p>
        </p:txBody>
      </p:sp>
      <p:sp>
        <p:nvSpPr>
          <p:cNvPr id="22" name="MH_Other_15"/>
          <p:cNvSpPr/>
          <p:nvPr>
            <p:custDataLst>
              <p:tags r:id="rId14"/>
            </p:custDataLst>
          </p:nvPr>
        </p:nvSpPr>
        <p:spPr>
          <a:xfrm flipH="1">
            <a:off x="5310189" y="4249274"/>
            <a:ext cx="192087" cy="854075"/>
          </a:xfrm>
          <a:custGeom>
            <a:avLst/>
            <a:gdLst>
              <a:gd name="connsiteX0" fmla="*/ 0 w 200069"/>
              <a:gd name="connsiteY0" fmla="*/ 0 h 904875"/>
              <a:gd name="connsiteX1" fmla="*/ 200025 w 200069"/>
              <a:gd name="connsiteY1" fmla="*/ 490538 h 904875"/>
              <a:gd name="connsiteX2" fmla="*/ 14288 w 200069"/>
              <a:gd name="connsiteY2" fmla="*/ 904875 h 904875"/>
              <a:gd name="connsiteX0-1" fmla="*/ 0 w 202450"/>
              <a:gd name="connsiteY0-2" fmla="*/ 0 h 904875"/>
              <a:gd name="connsiteX1-3" fmla="*/ 202407 w 202450"/>
              <a:gd name="connsiteY1-4" fmla="*/ 471488 h 904875"/>
              <a:gd name="connsiteX2-5" fmla="*/ 14288 w 202450"/>
              <a:gd name="connsiteY2-6" fmla="*/ 904875 h 904875"/>
              <a:gd name="connsiteX0-7" fmla="*/ 0 w 202558"/>
              <a:gd name="connsiteY0-8" fmla="*/ 0 h 904875"/>
              <a:gd name="connsiteX1-9" fmla="*/ 202407 w 202558"/>
              <a:gd name="connsiteY1-10" fmla="*/ 471488 h 904875"/>
              <a:gd name="connsiteX2-11" fmla="*/ 14288 w 202558"/>
              <a:gd name="connsiteY2-12" fmla="*/ 904875 h 904875"/>
              <a:gd name="connsiteX0-13" fmla="*/ 0 w 204846"/>
              <a:gd name="connsiteY0-14" fmla="*/ 0 h 897731"/>
              <a:gd name="connsiteX1-15" fmla="*/ 204788 w 204846"/>
              <a:gd name="connsiteY1-16" fmla="*/ 464344 h 897731"/>
              <a:gd name="connsiteX2-17" fmla="*/ 16669 w 204846"/>
              <a:gd name="connsiteY2-18" fmla="*/ 897731 h 897731"/>
              <a:gd name="connsiteX0-19" fmla="*/ 0 w 204846"/>
              <a:gd name="connsiteY0-20" fmla="*/ 0 h 897731"/>
              <a:gd name="connsiteX1-21" fmla="*/ 204788 w 204846"/>
              <a:gd name="connsiteY1-22" fmla="*/ 464344 h 897731"/>
              <a:gd name="connsiteX2-23" fmla="*/ 16669 w 204846"/>
              <a:gd name="connsiteY2-24" fmla="*/ 897731 h 897731"/>
              <a:gd name="connsiteX0-25" fmla="*/ 0 w 204798"/>
              <a:gd name="connsiteY0-26" fmla="*/ 0 h 916781"/>
              <a:gd name="connsiteX1-27" fmla="*/ 204788 w 204798"/>
              <a:gd name="connsiteY1-28" fmla="*/ 464344 h 916781"/>
              <a:gd name="connsiteX2-29" fmla="*/ 7144 w 204798"/>
              <a:gd name="connsiteY2-30" fmla="*/ 916781 h 916781"/>
              <a:gd name="connsiteX0-31" fmla="*/ 0 w 204800"/>
              <a:gd name="connsiteY0-32" fmla="*/ 0 h 916781"/>
              <a:gd name="connsiteX1-33" fmla="*/ 204788 w 204800"/>
              <a:gd name="connsiteY1-34" fmla="*/ 464344 h 916781"/>
              <a:gd name="connsiteX2-35" fmla="*/ 7144 w 204800"/>
              <a:gd name="connsiteY2-36" fmla="*/ 916781 h 91678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</a:cxnLst>
            <a:rect l="l" t="t" r="r" b="b"/>
            <a:pathLst>
              <a:path w="204800" h="916781">
                <a:moveTo>
                  <a:pt x="0" y="0"/>
                </a:moveTo>
                <a:cubicBezTo>
                  <a:pt x="158353" y="148432"/>
                  <a:pt x="203597" y="311547"/>
                  <a:pt x="204788" y="464344"/>
                </a:cubicBezTo>
                <a:cubicBezTo>
                  <a:pt x="205979" y="617141"/>
                  <a:pt x="120253" y="789782"/>
                  <a:pt x="7144" y="916781"/>
                </a:cubicBezTo>
              </a:path>
            </a:pathLst>
          </a:custGeom>
          <a:noFill/>
          <a:ln w="25400">
            <a:solidFill>
              <a:srgbClr val="58B933"/>
            </a:solidFill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0030101010101" pitchFamily="49" charset="-122"/>
            </a:endParaRPr>
          </a:p>
        </p:txBody>
      </p:sp>
      <p:cxnSp>
        <p:nvCxnSpPr>
          <p:cNvPr id="24" name="MH_Other_16"/>
          <p:cNvCxnSpPr/>
          <p:nvPr>
            <p:custDataLst>
              <p:tags r:id="rId15"/>
            </p:custDataLst>
          </p:nvPr>
        </p:nvCxnSpPr>
        <p:spPr>
          <a:xfrm flipH="1">
            <a:off x="5097463" y="4673136"/>
            <a:ext cx="215900" cy="0"/>
          </a:xfrm>
          <a:prstGeom prst="line">
            <a:avLst/>
          </a:prstGeom>
          <a:ln w="25400">
            <a:solidFill>
              <a:srgbClr val="58B933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MH_Other_17"/>
          <p:cNvSpPr/>
          <p:nvPr>
            <p:custDataLst>
              <p:tags r:id="rId16"/>
            </p:custDataLst>
          </p:nvPr>
        </p:nvSpPr>
        <p:spPr>
          <a:xfrm flipH="1">
            <a:off x="5254626" y="4614399"/>
            <a:ext cx="117475" cy="117475"/>
          </a:xfrm>
          <a:prstGeom prst="ellipse">
            <a:avLst/>
          </a:prstGeom>
          <a:solidFill>
            <a:srgbClr val="58B933"/>
          </a:solidFill>
          <a:ln>
            <a:solidFill>
              <a:srgbClr val="58B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0030101010101" pitchFamily="49" charset="-122"/>
            </a:endParaRPr>
          </a:p>
        </p:txBody>
      </p:sp>
      <p:sp>
        <p:nvSpPr>
          <p:cNvPr id="32" name="MH_Other_18"/>
          <p:cNvSpPr/>
          <p:nvPr>
            <p:custDataLst>
              <p:tags r:id="rId17"/>
            </p:custDataLst>
          </p:nvPr>
        </p:nvSpPr>
        <p:spPr bwMode="auto">
          <a:xfrm>
            <a:off x="5872163" y="4514386"/>
            <a:ext cx="373062" cy="374650"/>
          </a:xfrm>
          <a:custGeom>
            <a:avLst/>
            <a:gdLst>
              <a:gd name="T0" fmla="*/ 984018 w 1589088"/>
              <a:gd name="T1" fmla="*/ 589506 h 1589088"/>
              <a:gd name="T2" fmla="*/ 955171 w 1589088"/>
              <a:gd name="T3" fmla="*/ 645802 h 1589088"/>
              <a:gd name="T4" fmla="*/ 898294 w 1589088"/>
              <a:gd name="T5" fmla="*/ 673272 h 1589088"/>
              <a:gd name="T6" fmla="*/ 881422 w 1589088"/>
              <a:gd name="T7" fmla="*/ 964824 h 1589088"/>
              <a:gd name="T8" fmla="*/ 873530 w 1589088"/>
              <a:gd name="T9" fmla="*/ 1040159 h 1589088"/>
              <a:gd name="T10" fmla="*/ 824817 w 1589088"/>
              <a:gd name="T11" fmla="*/ 1084490 h 1589088"/>
              <a:gd name="T12" fmla="*/ 756238 w 1589088"/>
              <a:gd name="T13" fmla="*/ 1088026 h 1589088"/>
              <a:gd name="T14" fmla="*/ 703444 w 1589088"/>
              <a:gd name="T15" fmla="*/ 1048590 h 1589088"/>
              <a:gd name="T16" fmla="*/ 686571 w 1589088"/>
              <a:gd name="T17" fmla="*/ 985493 h 1589088"/>
              <a:gd name="T18" fmla="*/ 486007 w 1589088"/>
              <a:gd name="T19" fmla="*/ 893024 h 1589088"/>
              <a:gd name="T20" fmla="*/ 398106 w 1589088"/>
              <a:gd name="T21" fmla="*/ 820680 h 1589088"/>
              <a:gd name="T22" fmla="*/ 402189 w 1589088"/>
              <a:gd name="T23" fmla="*/ 755134 h 1589088"/>
              <a:gd name="T24" fmla="*/ 446547 w 1589088"/>
              <a:gd name="T25" fmla="*/ 706452 h 1589088"/>
              <a:gd name="T26" fmla="*/ 514037 w 1589088"/>
              <a:gd name="T27" fmla="*/ 696389 h 1589088"/>
              <a:gd name="T28" fmla="*/ 570641 w 1589088"/>
              <a:gd name="T29" fmla="*/ 730385 h 1589088"/>
              <a:gd name="T30" fmla="*/ 593501 w 1589088"/>
              <a:gd name="T31" fmla="*/ 794027 h 1589088"/>
              <a:gd name="T32" fmla="*/ 818558 w 1589088"/>
              <a:gd name="T33" fmla="*/ 648522 h 1589088"/>
              <a:gd name="T34" fmla="*/ 785901 w 1589088"/>
              <a:gd name="T35" fmla="*/ 575091 h 1589088"/>
              <a:gd name="T36" fmla="*/ 808761 w 1589088"/>
              <a:gd name="T37" fmla="*/ 511721 h 1589088"/>
              <a:gd name="T38" fmla="*/ 865365 w 1589088"/>
              <a:gd name="T39" fmla="*/ 477726 h 1589088"/>
              <a:gd name="T40" fmla="*/ 728574 w 1589088"/>
              <a:gd name="T41" fmla="*/ 144010 h 1589088"/>
              <a:gd name="T42" fmla="*/ 531280 w 1589088"/>
              <a:gd name="T43" fmla="*/ 182593 h 1589088"/>
              <a:gd name="T44" fmla="*/ 353281 w 1589088"/>
              <a:gd name="T45" fmla="*/ 288291 h 1589088"/>
              <a:gd name="T46" fmla="*/ 219577 w 1589088"/>
              <a:gd name="T47" fmla="*/ 451592 h 1589088"/>
              <a:gd name="T48" fmla="*/ 152454 w 1589088"/>
              <a:gd name="T49" fmla="*/ 642880 h 1589088"/>
              <a:gd name="T50" fmla="*/ 152454 w 1589088"/>
              <a:gd name="T51" fmla="*/ 843135 h 1589088"/>
              <a:gd name="T52" fmla="*/ 219577 w 1589088"/>
              <a:gd name="T53" fmla="*/ 1034422 h 1589088"/>
              <a:gd name="T54" fmla="*/ 353281 w 1589088"/>
              <a:gd name="T55" fmla="*/ 1197724 h 1589088"/>
              <a:gd name="T56" fmla="*/ 531280 w 1589088"/>
              <a:gd name="T57" fmla="*/ 1303421 h 1589088"/>
              <a:gd name="T58" fmla="*/ 728574 w 1589088"/>
              <a:gd name="T59" fmla="*/ 1341734 h 1589088"/>
              <a:gd name="T60" fmla="*/ 927227 w 1589088"/>
              <a:gd name="T61" fmla="*/ 1312931 h 1589088"/>
              <a:gd name="T62" fmla="*/ 1109302 w 1589088"/>
              <a:gd name="T63" fmla="*/ 1217015 h 1589088"/>
              <a:gd name="T64" fmla="*/ 1251431 w 1589088"/>
              <a:gd name="T65" fmla="*/ 1059964 h 1589088"/>
              <a:gd name="T66" fmla="*/ 1328065 w 1589088"/>
              <a:gd name="T67" fmla="*/ 871393 h 1589088"/>
              <a:gd name="T68" fmla="*/ 1337576 w 1589088"/>
              <a:gd name="T69" fmla="*/ 671410 h 1589088"/>
              <a:gd name="T70" fmla="*/ 1280237 w 1589088"/>
              <a:gd name="T71" fmla="*/ 477677 h 1589088"/>
              <a:gd name="T72" fmla="*/ 1155500 w 1589088"/>
              <a:gd name="T73" fmla="*/ 308670 h 1589088"/>
              <a:gd name="T74" fmla="*/ 981849 w 1589088"/>
              <a:gd name="T75" fmla="*/ 193462 h 1589088"/>
              <a:gd name="T76" fmla="*/ 785915 w 1589088"/>
              <a:gd name="T77" fmla="*/ 145640 h 1589088"/>
              <a:gd name="T78" fmla="*/ 902226 w 1589088"/>
              <a:gd name="T79" fmla="*/ 17390 h 1589088"/>
              <a:gd name="T80" fmla="*/ 1136207 w 1589088"/>
              <a:gd name="T81" fmla="*/ 112491 h 1589088"/>
              <a:gd name="T82" fmla="*/ 1320999 w 1589088"/>
              <a:gd name="T83" fmla="*/ 276063 h 1589088"/>
              <a:gd name="T84" fmla="*/ 1429702 w 1589088"/>
              <a:gd name="T85" fmla="*/ 459201 h 1589088"/>
              <a:gd name="T86" fmla="*/ 1481334 w 1589088"/>
              <a:gd name="T87" fmla="*/ 660270 h 1589088"/>
              <a:gd name="T88" fmla="*/ 1475356 w 1589088"/>
              <a:gd name="T89" fmla="*/ 866502 h 1589088"/>
              <a:gd name="T90" fmla="*/ 1412581 w 1589088"/>
              <a:gd name="T91" fmla="*/ 1064855 h 1589088"/>
              <a:gd name="T92" fmla="*/ 1892771 w 1589088"/>
              <a:gd name="T93" fmla="*/ 1636001 h 1589088"/>
              <a:gd name="T94" fmla="*/ 1896304 w 1589088"/>
              <a:gd name="T95" fmla="*/ 1759632 h 1589088"/>
              <a:gd name="T96" fmla="*/ 1783798 w 1589088"/>
              <a:gd name="T97" fmla="*/ 1885980 h 1589088"/>
              <a:gd name="T98" fmla="*/ 1662866 w 1589088"/>
              <a:gd name="T99" fmla="*/ 1900381 h 1589088"/>
              <a:gd name="T100" fmla="*/ 1104954 w 1589088"/>
              <a:gd name="T101" fmla="*/ 1391458 h 1589088"/>
              <a:gd name="T102" fmla="*/ 909835 w 1589088"/>
              <a:gd name="T103" fmla="*/ 1466451 h 1589088"/>
              <a:gd name="T104" fmla="*/ 704388 w 1589088"/>
              <a:gd name="T105" fmla="*/ 1484656 h 1589088"/>
              <a:gd name="T106" fmla="*/ 501116 w 1589088"/>
              <a:gd name="T107" fmla="*/ 1445528 h 1589088"/>
              <a:gd name="T108" fmla="*/ 313061 w 1589088"/>
              <a:gd name="T109" fmla="*/ 1349069 h 1589088"/>
              <a:gd name="T110" fmla="*/ 143758 w 1589088"/>
              <a:gd name="T111" fmla="*/ 1181965 h 1589088"/>
              <a:gd name="T112" fmla="*/ 30708 w 1589088"/>
              <a:gd name="T113" fmla="*/ 954538 h 1589088"/>
              <a:gd name="T114" fmla="*/ 815 w 1589088"/>
              <a:gd name="T115" fmla="*/ 707277 h 1589088"/>
              <a:gd name="T116" fmla="*/ 54351 w 1589088"/>
              <a:gd name="T117" fmla="*/ 463275 h 1589088"/>
              <a:gd name="T118" fmla="*/ 191315 w 1589088"/>
              <a:gd name="T119" fmla="*/ 245360 h 1589088"/>
              <a:gd name="T120" fmla="*/ 397577 w 1589088"/>
              <a:gd name="T121" fmla="*/ 85319 h 1589088"/>
              <a:gd name="T122" fmla="*/ 636177 w 1589088"/>
              <a:gd name="T123" fmla="*/ 7880 h 158908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589088" h="1589088">
                <a:moveTo>
                  <a:pt x="916859" y="288925"/>
                </a:moveTo>
                <a:lnTo>
                  <a:pt x="954088" y="332030"/>
                </a:lnTo>
                <a:lnTo>
                  <a:pt x="816067" y="450682"/>
                </a:lnTo>
                <a:lnTo>
                  <a:pt x="817430" y="454085"/>
                </a:lnTo>
                <a:lnTo>
                  <a:pt x="818338" y="457488"/>
                </a:lnTo>
                <a:lnTo>
                  <a:pt x="819246" y="461118"/>
                </a:lnTo>
                <a:lnTo>
                  <a:pt x="820381" y="464748"/>
                </a:lnTo>
                <a:lnTo>
                  <a:pt x="820835" y="468378"/>
                </a:lnTo>
                <a:lnTo>
                  <a:pt x="821289" y="472008"/>
                </a:lnTo>
                <a:lnTo>
                  <a:pt x="821743" y="475865"/>
                </a:lnTo>
                <a:lnTo>
                  <a:pt x="821743" y="479722"/>
                </a:lnTo>
                <a:lnTo>
                  <a:pt x="821743" y="483805"/>
                </a:lnTo>
                <a:lnTo>
                  <a:pt x="821289" y="487662"/>
                </a:lnTo>
                <a:lnTo>
                  <a:pt x="820835" y="491746"/>
                </a:lnTo>
                <a:lnTo>
                  <a:pt x="820154" y="495602"/>
                </a:lnTo>
                <a:lnTo>
                  <a:pt x="819246" y="499459"/>
                </a:lnTo>
                <a:lnTo>
                  <a:pt x="818338" y="503089"/>
                </a:lnTo>
                <a:lnTo>
                  <a:pt x="816976" y="506946"/>
                </a:lnTo>
                <a:lnTo>
                  <a:pt x="815840" y="510349"/>
                </a:lnTo>
                <a:lnTo>
                  <a:pt x="814251" y="513979"/>
                </a:lnTo>
                <a:lnTo>
                  <a:pt x="812662" y="517382"/>
                </a:lnTo>
                <a:lnTo>
                  <a:pt x="810619" y="520785"/>
                </a:lnTo>
                <a:lnTo>
                  <a:pt x="808803" y="523961"/>
                </a:lnTo>
                <a:lnTo>
                  <a:pt x="806760" y="527137"/>
                </a:lnTo>
                <a:lnTo>
                  <a:pt x="804263" y="530313"/>
                </a:lnTo>
                <a:lnTo>
                  <a:pt x="801993" y="533036"/>
                </a:lnTo>
                <a:lnTo>
                  <a:pt x="799496" y="535985"/>
                </a:lnTo>
                <a:lnTo>
                  <a:pt x="796772" y="538707"/>
                </a:lnTo>
                <a:lnTo>
                  <a:pt x="794048" y="541203"/>
                </a:lnTo>
                <a:lnTo>
                  <a:pt x="791324" y="543698"/>
                </a:lnTo>
                <a:lnTo>
                  <a:pt x="788146" y="545967"/>
                </a:lnTo>
                <a:lnTo>
                  <a:pt x="785194" y="548009"/>
                </a:lnTo>
                <a:lnTo>
                  <a:pt x="781789" y="550051"/>
                </a:lnTo>
                <a:lnTo>
                  <a:pt x="778611" y="552093"/>
                </a:lnTo>
                <a:lnTo>
                  <a:pt x="775433" y="553908"/>
                </a:lnTo>
                <a:lnTo>
                  <a:pt x="771801" y="555496"/>
                </a:lnTo>
                <a:lnTo>
                  <a:pt x="768396" y="556857"/>
                </a:lnTo>
                <a:lnTo>
                  <a:pt x="764537" y="558218"/>
                </a:lnTo>
                <a:lnTo>
                  <a:pt x="760905" y="559352"/>
                </a:lnTo>
                <a:lnTo>
                  <a:pt x="757046" y="560260"/>
                </a:lnTo>
                <a:lnTo>
                  <a:pt x="753413" y="560940"/>
                </a:lnTo>
                <a:lnTo>
                  <a:pt x="749327" y="561621"/>
                </a:lnTo>
                <a:lnTo>
                  <a:pt x="745241" y="562075"/>
                </a:lnTo>
                <a:lnTo>
                  <a:pt x="692121" y="754005"/>
                </a:lnTo>
                <a:lnTo>
                  <a:pt x="697343" y="756728"/>
                </a:lnTo>
                <a:lnTo>
                  <a:pt x="702110" y="759904"/>
                </a:lnTo>
                <a:lnTo>
                  <a:pt x="706650" y="763080"/>
                </a:lnTo>
                <a:lnTo>
                  <a:pt x="710963" y="766937"/>
                </a:lnTo>
                <a:lnTo>
                  <a:pt x="715049" y="770794"/>
                </a:lnTo>
                <a:lnTo>
                  <a:pt x="718908" y="774877"/>
                </a:lnTo>
                <a:lnTo>
                  <a:pt x="722313" y="779188"/>
                </a:lnTo>
                <a:lnTo>
                  <a:pt x="725718" y="783952"/>
                </a:lnTo>
                <a:lnTo>
                  <a:pt x="728670" y="788943"/>
                </a:lnTo>
                <a:lnTo>
                  <a:pt x="731167" y="793934"/>
                </a:lnTo>
                <a:lnTo>
                  <a:pt x="733437" y="799379"/>
                </a:lnTo>
                <a:lnTo>
                  <a:pt x="735253" y="804824"/>
                </a:lnTo>
                <a:lnTo>
                  <a:pt x="736615" y="810496"/>
                </a:lnTo>
                <a:lnTo>
                  <a:pt x="737750" y="816167"/>
                </a:lnTo>
                <a:lnTo>
                  <a:pt x="738431" y="822066"/>
                </a:lnTo>
                <a:lnTo>
                  <a:pt x="738658" y="828191"/>
                </a:lnTo>
                <a:lnTo>
                  <a:pt x="738658" y="832729"/>
                </a:lnTo>
                <a:lnTo>
                  <a:pt x="738431" y="836812"/>
                </a:lnTo>
                <a:lnTo>
                  <a:pt x="737523" y="840896"/>
                </a:lnTo>
                <a:lnTo>
                  <a:pt x="736842" y="844980"/>
                </a:lnTo>
                <a:lnTo>
                  <a:pt x="735934" y="849063"/>
                </a:lnTo>
                <a:lnTo>
                  <a:pt x="734799" y="852920"/>
                </a:lnTo>
                <a:lnTo>
                  <a:pt x="733664" y="856777"/>
                </a:lnTo>
                <a:lnTo>
                  <a:pt x="732075" y="860407"/>
                </a:lnTo>
                <a:lnTo>
                  <a:pt x="730259" y="864263"/>
                </a:lnTo>
                <a:lnTo>
                  <a:pt x="728670" y="867666"/>
                </a:lnTo>
                <a:lnTo>
                  <a:pt x="726626" y="871296"/>
                </a:lnTo>
                <a:lnTo>
                  <a:pt x="724583" y="874699"/>
                </a:lnTo>
                <a:lnTo>
                  <a:pt x="722086" y="877876"/>
                </a:lnTo>
                <a:lnTo>
                  <a:pt x="719589" y="881052"/>
                </a:lnTo>
                <a:lnTo>
                  <a:pt x="717092" y="884228"/>
                </a:lnTo>
                <a:lnTo>
                  <a:pt x="714141" y="886950"/>
                </a:lnTo>
                <a:lnTo>
                  <a:pt x="711417" y="889673"/>
                </a:lnTo>
                <a:lnTo>
                  <a:pt x="708239" y="892395"/>
                </a:lnTo>
                <a:lnTo>
                  <a:pt x="705288" y="894891"/>
                </a:lnTo>
                <a:lnTo>
                  <a:pt x="702110" y="896933"/>
                </a:lnTo>
                <a:lnTo>
                  <a:pt x="698705" y="899428"/>
                </a:lnTo>
                <a:lnTo>
                  <a:pt x="695299" y="901243"/>
                </a:lnTo>
                <a:lnTo>
                  <a:pt x="691440" y="903058"/>
                </a:lnTo>
                <a:lnTo>
                  <a:pt x="688035" y="904646"/>
                </a:lnTo>
                <a:lnTo>
                  <a:pt x="684176" y="906234"/>
                </a:lnTo>
                <a:lnTo>
                  <a:pt x="680317" y="907595"/>
                </a:lnTo>
                <a:lnTo>
                  <a:pt x="676231" y="908730"/>
                </a:lnTo>
                <a:lnTo>
                  <a:pt x="672372" y="909637"/>
                </a:lnTo>
                <a:lnTo>
                  <a:pt x="668286" y="910318"/>
                </a:lnTo>
                <a:lnTo>
                  <a:pt x="664199" y="910771"/>
                </a:lnTo>
                <a:lnTo>
                  <a:pt x="659886" y="911225"/>
                </a:lnTo>
                <a:lnTo>
                  <a:pt x="655573" y="911225"/>
                </a:lnTo>
                <a:lnTo>
                  <a:pt x="651260" y="911225"/>
                </a:lnTo>
                <a:lnTo>
                  <a:pt x="646947" y="910771"/>
                </a:lnTo>
                <a:lnTo>
                  <a:pt x="643088" y="910318"/>
                </a:lnTo>
                <a:lnTo>
                  <a:pt x="638775" y="909637"/>
                </a:lnTo>
                <a:lnTo>
                  <a:pt x="634915" y="908730"/>
                </a:lnTo>
                <a:lnTo>
                  <a:pt x="630829" y="907595"/>
                </a:lnTo>
                <a:lnTo>
                  <a:pt x="627197" y="906234"/>
                </a:lnTo>
                <a:lnTo>
                  <a:pt x="623338" y="904646"/>
                </a:lnTo>
                <a:lnTo>
                  <a:pt x="619706" y="903058"/>
                </a:lnTo>
                <a:lnTo>
                  <a:pt x="616074" y="901243"/>
                </a:lnTo>
                <a:lnTo>
                  <a:pt x="612669" y="899428"/>
                </a:lnTo>
                <a:lnTo>
                  <a:pt x="609037" y="896933"/>
                </a:lnTo>
                <a:lnTo>
                  <a:pt x="605858" y="894891"/>
                </a:lnTo>
                <a:lnTo>
                  <a:pt x="602680" y="892395"/>
                </a:lnTo>
                <a:lnTo>
                  <a:pt x="599729" y="889673"/>
                </a:lnTo>
                <a:lnTo>
                  <a:pt x="596778" y="886950"/>
                </a:lnTo>
                <a:lnTo>
                  <a:pt x="594054" y="884228"/>
                </a:lnTo>
                <a:lnTo>
                  <a:pt x="591557" y="881052"/>
                </a:lnTo>
                <a:lnTo>
                  <a:pt x="588833" y="877876"/>
                </a:lnTo>
                <a:lnTo>
                  <a:pt x="586790" y="874699"/>
                </a:lnTo>
                <a:lnTo>
                  <a:pt x="584520" y="871296"/>
                </a:lnTo>
                <a:lnTo>
                  <a:pt x="582704" y="867666"/>
                </a:lnTo>
                <a:lnTo>
                  <a:pt x="580661" y="864263"/>
                </a:lnTo>
                <a:lnTo>
                  <a:pt x="579072" y="860407"/>
                </a:lnTo>
                <a:lnTo>
                  <a:pt x="577710" y="856777"/>
                </a:lnTo>
                <a:lnTo>
                  <a:pt x="576348" y="852920"/>
                </a:lnTo>
                <a:lnTo>
                  <a:pt x="575212" y="849063"/>
                </a:lnTo>
                <a:lnTo>
                  <a:pt x="574077" y="844980"/>
                </a:lnTo>
                <a:lnTo>
                  <a:pt x="573396" y="840896"/>
                </a:lnTo>
                <a:lnTo>
                  <a:pt x="572942" y="836812"/>
                </a:lnTo>
                <a:lnTo>
                  <a:pt x="572488" y="832729"/>
                </a:lnTo>
                <a:lnTo>
                  <a:pt x="572488" y="828191"/>
                </a:lnTo>
                <a:lnTo>
                  <a:pt x="572488" y="825242"/>
                </a:lnTo>
                <a:lnTo>
                  <a:pt x="572715" y="822066"/>
                </a:lnTo>
                <a:lnTo>
                  <a:pt x="573623" y="815940"/>
                </a:lnTo>
                <a:lnTo>
                  <a:pt x="574986" y="810042"/>
                </a:lnTo>
                <a:lnTo>
                  <a:pt x="576575" y="804370"/>
                </a:lnTo>
                <a:lnTo>
                  <a:pt x="454445" y="733134"/>
                </a:lnTo>
                <a:lnTo>
                  <a:pt x="449904" y="736083"/>
                </a:lnTo>
                <a:lnTo>
                  <a:pt x="444910" y="738352"/>
                </a:lnTo>
                <a:lnTo>
                  <a:pt x="439689" y="740166"/>
                </a:lnTo>
                <a:lnTo>
                  <a:pt x="434468" y="741981"/>
                </a:lnTo>
                <a:lnTo>
                  <a:pt x="429020" y="743569"/>
                </a:lnTo>
                <a:lnTo>
                  <a:pt x="423571" y="744477"/>
                </a:lnTo>
                <a:lnTo>
                  <a:pt x="417669" y="745158"/>
                </a:lnTo>
                <a:lnTo>
                  <a:pt x="412221" y="745384"/>
                </a:lnTo>
                <a:lnTo>
                  <a:pt x="408589" y="745158"/>
                </a:lnTo>
                <a:lnTo>
                  <a:pt x="405411" y="744931"/>
                </a:lnTo>
                <a:lnTo>
                  <a:pt x="398828" y="744023"/>
                </a:lnTo>
                <a:lnTo>
                  <a:pt x="305755" y="898294"/>
                </a:lnTo>
                <a:lnTo>
                  <a:pt x="257175" y="869255"/>
                </a:lnTo>
                <a:lnTo>
                  <a:pt x="349113" y="716118"/>
                </a:lnTo>
                <a:lnTo>
                  <a:pt x="347070" y="713396"/>
                </a:lnTo>
                <a:lnTo>
                  <a:pt x="344573" y="710220"/>
                </a:lnTo>
                <a:lnTo>
                  <a:pt x="342757" y="707497"/>
                </a:lnTo>
                <a:lnTo>
                  <a:pt x="340714" y="704321"/>
                </a:lnTo>
                <a:lnTo>
                  <a:pt x="339125" y="701145"/>
                </a:lnTo>
                <a:lnTo>
                  <a:pt x="337536" y="697969"/>
                </a:lnTo>
                <a:lnTo>
                  <a:pt x="335720" y="694793"/>
                </a:lnTo>
                <a:lnTo>
                  <a:pt x="334358" y="691390"/>
                </a:lnTo>
                <a:lnTo>
                  <a:pt x="333223" y="687987"/>
                </a:lnTo>
                <a:lnTo>
                  <a:pt x="332087" y="684584"/>
                </a:lnTo>
                <a:lnTo>
                  <a:pt x="331179" y="680954"/>
                </a:lnTo>
                <a:lnTo>
                  <a:pt x="330498" y="677324"/>
                </a:lnTo>
                <a:lnTo>
                  <a:pt x="329590" y="673467"/>
                </a:lnTo>
                <a:lnTo>
                  <a:pt x="329136" y="670064"/>
                </a:lnTo>
                <a:lnTo>
                  <a:pt x="328909" y="665981"/>
                </a:lnTo>
                <a:lnTo>
                  <a:pt x="328909" y="662351"/>
                </a:lnTo>
                <a:lnTo>
                  <a:pt x="328909" y="658040"/>
                </a:lnTo>
                <a:lnTo>
                  <a:pt x="329363" y="653730"/>
                </a:lnTo>
                <a:lnTo>
                  <a:pt x="330044" y="649646"/>
                </a:lnTo>
                <a:lnTo>
                  <a:pt x="330725" y="645335"/>
                </a:lnTo>
                <a:lnTo>
                  <a:pt x="331633" y="641479"/>
                </a:lnTo>
                <a:lnTo>
                  <a:pt x="332768" y="637395"/>
                </a:lnTo>
                <a:lnTo>
                  <a:pt x="333904" y="633765"/>
                </a:lnTo>
                <a:lnTo>
                  <a:pt x="335493" y="629908"/>
                </a:lnTo>
                <a:lnTo>
                  <a:pt x="337082" y="626279"/>
                </a:lnTo>
                <a:lnTo>
                  <a:pt x="339125" y="622649"/>
                </a:lnTo>
                <a:lnTo>
                  <a:pt x="340941" y="619246"/>
                </a:lnTo>
                <a:lnTo>
                  <a:pt x="342984" y="615843"/>
                </a:lnTo>
                <a:lnTo>
                  <a:pt x="345481" y="612666"/>
                </a:lnTo>
                <a:lnTo>
                  <a:pt x="347978" y="609263"/>
                </a:lnTo>
                <a:lnTo>
                  <a:pt x="350475" y="606314"/>
                </a:lnTo>
                <a:lnTo>
                  <a:pt x="353426" y="603592"/>
                </a:lnTo>
                <a:lnTo>
                  <a:pt x="356150" y="600642"/>
                </a:lnTo>
                <a:lnTo>
                  <a:pt x="359101" y="598147"/>
                </a:lnTo>
                <a:lnTo>
                  <a:pt x="362279" y="595878"/>
                </a:lnTo>
                <a:lnTo>
                  <a:pt x="365458" y="593383"/>
                </a:lnTo>
                <a:lnTo>
                  <a:pt x="369090" y="591341"/>
                </a:lnTo>
                <a:lnTo>
                  <a:pt x="372495" y="589299"/>
                </a:lnTo>
                <a:lnTo>
                  <a:pt x="376127" y="587484"/>
                </a:lnTo>
                <a:lnTo>
                  <a:pt x="379759" y="585669"/>
                </a:lnTo>
                <a:lnTo>
                  <a:pt x="383618" y="584308"/>
                </a:lnTo>
                <a:lnTo>
                  <a:pt x="387250" y="582947"/>
                </a:lnTo>
                <a:lnTo>
                  <a:pt x="391336" y="581812"/>
                </a:lnTo>
                <a:lnTo>
                  <a:pt x="395196" y="580905"/>
                </a:lnTo>
                <a:lnTo>
                  <a:pt x="399509" y="580224"/>
                </a:lnTo>
                <a:lnTo>
                  <a:pt x="403368" y="579544"/>
                </a:lnTo>
                <a:lnTo>
                  <a:pt x="407681" y="579317"/>
                </a:lnTo>
                <a:lnTo>
                  <a:pt x="412221" y="579090"/>
                </a:lnTo>
                <a:lnTo>
                  <a:pt x="416307" y="579317"/>
                </a:lnTo>
                <a:lnTo>
                  <a:pt x="420620" y="579544"/>
                </a:lnTo>
                <a:lnTo>
                  <a:pt x="424707" y="580224"/>
                </a:lnTo>
                <a:lnTo>
                  <a:pt x="428793" y="580905"/>
                </a:lnTo>
                <a:lnTo>
                  <a:pt x="432652" y="581812"/>
                </a:lnTo>
                <a:lnTo>
                  <a:pt x="436738" y="582947"/>
                </a:lnTo>
                <a:lnTo>
                  <a:pt x="440597" y="584308"/>
                </a:lnTo>
                <a:lnTo>
                  <a:pt x="444456" y="585669"/>
                </a:lnTo>
                <a:lnTo>
                  <a:pt x="447861" y="587484"/>
                </a:lnTo>
                <a:lnTo>
                  <a:pt x="451720" y="589299"/>
                </a:lnTo>
                <a:lnTo>
                  <a:pt x="454899" y="591341"/>
                </a:lnTo>
                <a:lnTo>
                  <a:pt x="458531" y="593383"/>
                </a:lnTo>
                <a:lnTo>
                  <a:pt x="461709" y="595878"/>
                </a:lnTo>
                <a:lnTo>
                  <a:pt x="464887" y="598147"/>
                </a:lnTo>
                <a:lnTo>
                  <a:pt x="467838" y="600642"/>
                </a:lnTo>
                <a:lnTo>
                  <a:pt x="470562" y="603592"/>
                </a:lnTo>
                <a:lnTo>
                  <a:pt x="473513" y="606314"/>
                </a:lnTo>
                <a:lnTo>
                  <a:pt x="476010" y="609263"/>
                </a:lnTo>
                <a:lnTo>
                  <a:pt x="478734" y="612666"/>
                </a:lnTo>
                <a:lnTo>
                  <a:pt x="481004" y="615843"/>
                </a:lnTo>
                <a:lnTo>
                  <a:pt x="483047" y="619246"/>
                </a:lnTo>
                <a:lnTo>
                  <a:pt x="484864" y="622649"/>
                </a:lnTo>
                <a:lnTo>
                  <a:pt x="486907" y="626279"/>
                </a:lnTo>
                <a:lnTo>
                  <a:pt x="488496" y="629908"/>
                </a:lnTo>
                <a:lnTo>
                  <a:pt x="490085" y="633765"/>
                </a:lnTo>
                <a:lnTo>
                  <a:pt x="491220" y="637395"/>
                </a:lnTo>
                <a:lnTo>
                  <a:pt x="492355" y="641479"/>
                </a:lnTo>
                <a:lnTo>
                  <a:pt x="493490" y="645335"/>
                </a:lnTo>
                <a:lnTo>
                  <a:pt x="494171" y="649646"/>
                </a:lnTo>
                <a:lnTo>
                  <a:pt x="494625" y="653730"/>
                </a:lnTo>
                <a:lnTo>
                  <a:pt x="495079" y="658040"/>
                </a:lnTo>
                <a:lnTo>
                  <a:pt x="495079" y="662351"/>
                </a:lnTo>
                <a:lnTo>
                  <a:pt x="495079" y="665527"/>
                </a:lnTo>
                <a:lnTo>
                  <a:pt x="494852" y="669157"/>
                </a:lnTo>
                <a:lnTo>
                  <a:pt x="494398" y="672333"/>
                </a:lnTo>
                <a:lnTo>
                  <a:pt x="493944" y="675509"/>
                </a:lnTo>
                <a:lnTo>
                  <a:pt x="492355" y="682088"/>
                </a:lnTo>
                <a:lnTo>
                  <a:pt x="490539" y="688214"/>
                </a:lnTo>
                <a:lnTo>
                  <a:pt x="610853" y="758543"/>
                </a:lnTo>
                <a:lnTo>
                  <a:pt x="616528" y="755140"/>
                </a:lnTo>
                <a:lnTo>
                  <a:pt x="622430" y="752417"/>
                </a:lnTo>
                <a:lnTo>
                  <a:pt x="628559" y="749922"/>
                </a:lnTo>
                <a:lnTo>
                  <a:pt x="634915" y="748107"/>
                </a:lnTo>
                <a:lnTo>
                  <a:pt x="690305" y="547101"/>
                </a:lnTo>
                <a:lnTo>
                  <a:pt x="686673" y="544152"/>
                </a:lnTo>
                <a:lnTo>
                  <a:pt x="682814" y="540976"/>
                </a:lnTo>
                <a:lnTo>
                  <a:pt x="679409" y="537800"/>
                </a:lnTo>
                <a:lnTo>
                  <a:pt x="676004" y="533943"/>
                </a:lnTo>
                <a:lnTo>
                  <a:pt x="673053" y="530540"/>
                </a:lnTo>
                <a:lnTo>
                  <a:pt x="670102" y="526456"/>
                </a:lnTo>
                <a:lnTo>
                  <a:pt x="667605" y="522373"/>
                </a:lnTo>
                <a:lnTo>
                  <a:pt x="665107" y="518062"/>
                </a:lnTo>
                <a:lnTo>
                  <a:pt x="662837" y="513979"/>
                </a:lnTo>
                <a:lnTo>
                  <a:pt x="661021" y="509214"/>
                </a:lnTo>
                <a:lnTo>
                  <a:pt x="659432" y="504450"/>
                </a:lnTo>
                <a:lnTo>
                  <a:pt x="658070" y="499913"/>
                </a:lnTo>
                <a:lnTo>
                  <a:pt x="657162" y="494922"/>
                </a:lnTo>
                <a:lnTo>
                  <a:pt x="656027" y="489931"/>
                </a:lnTo>
                <a:lnTo>
                  <a:pt x="655573" y="484940"/>
                </a:lnTo>
                <a:lnTo>
                  <a:pt x="655573" y="479722"/>
                </a:lnTo>
                <a:lnTo>
                  <a:pt x="655573" y="475411"/>
                </a:lnTo>
                <a:lnTo>
                  <a:pt x="655800" y="471327"/>
                </a:lnTo>
                <a:lnTo>
                  <a:pt x="656708" y="467017"/>
                </a:lnTo>
                <a:lnTo>
                  <a:pt x="657389" y="463160"/>
                </a:lnTo>
                <a:lnTo>
                  <a:pt x="658297" y="458850"/>
                </a:lnTo>
                <a:lnTo>
                  <a:pt x="659432" y="455220"/>
                </a:lnTo>
                <a:lnTo>
                  <a:pt x="660567" y="451136"/>
                </a:lnTo>
                <a:lnTo>
                  <a:pt x="661929" y="447506"/>
                </a:lnTo>
                <a:lnTo>
                  <a:pt x="663745" y="443649"/>
                </a:lnTo>
                <a:lnTo>
                  <a:pt x="665561" y="440246"/>
                </a:lnTo>
                <a:lnTo>
                  <a:pt x="667605" y="436617"/>
                </a:lnTo>
                <a:lnTo>
                  <a:pt x="669648" y="433440"/>
                </a:lnTo>
                <a:lnTo>
                  <a:pt x="672145" y="430037"/>
                </a:lnTo>
                <a:lnTo>
                  <a:pt x="674642" y="426861"/>
                </a:lnTo>
                <a:lnTo>
                  <a:pt x="677139" y="423912"/>
                </a:lnTo>
                <a:lnTo>
                  <a:pt x="679863" y="420963"/>
                </a:lnTo>
                <a:lnTo>
                  <a:pt x="682814" y="418240"/>
                </a:lnTo>
                <a:lnTo>
                  <a:pt x="685765" y="415518"/>
                </a:lnTo>
                <a:lnTo>
                  <a:pt x="688943" y="413249"/>
                </a:lnTo>
                <a:lnTo>
                  <a:pt x="692121" y="410980"/>
                </a:lnTo>
                <a:lnTo>
                  <a:pt x="695526" y="408712"/>
                </a:lnTo>
                <a:lnTo>
                  <a:pt x="698932" y="406670"/>
                </a:lnTo>
                <a:lnTo>
                  <a:pt x="702791" y="404855"/>
                </a:lnTo>
                <a:lnTo>
                  <a:pt x="706196" y="403267"/>
                </a:lnTo>
                <a:lnTo>
                  <a:pt x="710055" y="401679"/>
                </a:lnTo>
                <a:lnTo>
                  <a:pt x="713914" y="400318"/>
                </a:lnTo>
                <a:lnTo>
                  <a:pt x="718000" y="399410"/>
                </a:lnTo>
                <a:lnTo>
                  <a:pt x="721859" y="398503"/>
                </a:lnTo>
                <a:lnTo>
                  <a:pt x="725945" y="397595"/>
                </a:lnTo>
                <a:lnTo>
                  <a:pt x="730032" y="397141"/>
                </a:lnTo>
                <a:lnTo>
                  <a:pt x="734345" y="396915"/>
                </a:lnTo>
                <a:lnTo>
                  <a:pt x="738658" y="396688"/>
                </a:lnTo>
                <a:lnTo>
                  <a:pt x="744106" y="396915"/>
                </a:lnTo>
                <a:lnTo>
                  <a:pt x="749554" y="397595"/>
                </a:lnTo>
                <a:lnTo>
                  <a:pt x="754775" y="398276"/>
                </a:lnTo>
                <a:lnTo>
                  <a:pt x="759770" y="399637"/>
                </a:lnTo>
                <a:lnTo>
                  <a:pt x="764764" y="400998"/>
                </a:lnTo>
                <a:lnTo>
                  <a:pt x="769758" y="403040"/>
                </a:lnTo>
                <a:lnTo>
                  <a:pt x="774298" y="405082"/>
                </a:lnTo>
                <a:lnTo>
                  <a:pt x="778838" y="407577"/>
                </a:lnTo>
                <a:lnTo>
                  <a:pt x="916859" y="288925"/>
                </a:lnTo>
                <a:close/>
                <a:moveTo>
                  <a:pt x="607752" y="120128"/>
                </a:moveTo>
                <a:lnTo>
                  <a:pt x="595738" y="120581"/>
                </a:lnTo>
                <a:lnTo>
                  <a:pt x="583950" y="121488"/>
                </a:lnTo>
                <a:lnTo>
                  <a:pt x="571936" y="122621"/>
                </a:lnTo>
                <a:lnTo>
                  <a:pt x="559921" y="123755"/>
                </a:lnTo>
                <a:lnTo>
                  <a:pt x="548133" y="125341"/>
                </a:lnTo>
                <a:lnTo>
                  <a:pt x="536119" y="127154"/>
                </a:lnTo>
                <a:lnTo>
                  <a:pt x="524331" y="129421"/>
                </a:lnTo>
                <a:lnTo>
                  <a:pt x="512543" y="131688"/>
                </a:lnTo>
                <a:lnTo>
                  <a:pt x="500755" y="134407"/>
                </a:lnTo>
                <a:lnTo>
                  <a:pt x="489194" y="137581"/>
                </a:lnTo>
                <a:lnTo>
                  <a:pt x="477406" y="140754"/>
                </a:lnTo>
                <a:lnTo>
                  <a:pt x="466072" y="144380"/>
                </a:lnTo>
                <a:lnTo>
                  <a:pt x="454511" y="148234"/>
                </a:lnTo>
                <a:lnTo>
                  <a:pt x="443176" y="152313"/>
                </a:lnTo>
                <a:lnTo>
                  <a:pt x="431615" y="156620"/>
                </a:lnTo>
                <a:lnTo>
                  <a:pt x="420508" y="161380"/>
                </a:lnTo>
                <a:lnTo>
                  <a:pt x="409400" y="166593"/>
                </a:lnTo>
                <a:lnTo>
                  <a:pt x="398519" y="171579"/>
                </a:lnTo>
                <a:lnTo>
                  <a:pt x="387411" y="177246"/>
                </a:lnTo>
                <a:lnTo>
                  <a:pt x="376530" y="183139"/>
                </a:lnTo>
                <a:lnTo>
                  <a:pt x="365876" y="189485"/>
                </a:lnTo>
                <a:lnTo>
                  <a:pt x="355221" y="195831"/>
                </a:lnTo>
                <a:lnTo>
                  <a:pt x="344794" y="202631"/>
                </a:lnTo>
                <a:lnTo>
                  <a:pt x="334593" y="209431"/>
                </a:lnTo>
                <a:lnTo>
                  <a:pt x="324392" y="216684"/>
                </a:lnTo>
                <a:lnTo>
                  <a:pt x="314191" y="224163"/>
                </a:lnTo>
                <a:lnTo>
                  <a:pt x="304443" y="232323"/>
                </a:lnTo>
                <a:lnTo>
                  <a:pt x="294695" y="240483"/>
                </a:lnTo>
                <a:lnTo>
                  <a:pt x="284948" y="248869"/>
                </a:lnTo>
                <a:lnTo>
                  <a:pt x="275654" y="257482"/>
                </a:lnTo>
                <a:lnTo>
                  <a:pt x="266359" y="266548"/>
                </a:lnTo>
                <a:lnTo>
                  <a:pt x="257518" y="275614"/>
                </a:lnTo>
                <a:lnTo>
                  <a:pt x="248678" y="285134"/>
                </a:lnTo>
                <a:lnTo>
                  <a:pt x="240290" y="294654"/>
                </a:lnTo>
                <a:lnTo>
                  <a:pt x="232129" y="304400"/>
                </a:lnTo>
                <a:lnTo>
                  <a:pt x="224195" y="314373"/>
                </a:lnTo>
                <a:lnTo>
                  <a:pt x="216714" y="324346"/>
                </a:lnTo>
                <a:lnTo>
                  <a:pt x="209460" y="334545"/>
                </a:lnTo>
                <a:lnTo>
                  <a:pt x="202433" y="344971"/>
                </a:lnTo>
                <a:lnTo>
                  <a:pt x="195632" y="355397"/>
                </a:lnTo>
                <a:lnTo>
                  <a:pt x="189058" y="366050"/>
                </a:lnTo>
                <a:lnTo>
                  <a:pt x="183164" y="376703"/>
                </a:lnTo>
                <a:lnTo>
                  <a:pt x="177271" y="387583"/>
                </a:lnTo>
                <a:lnTo>
                  <a:pt x="171603" y="398462"/>
                </a:lnTo>
                <a:lnTo>
                  <a:pt x="166390" y="409342"/>
                </a:lnTo>
                <a:lnTo>
                  <a:pt x="161402" y="420448"/>
                </a:lnTo>
                <a:lnTo>
                  <a:pt x="156642" y="431554"/>
                </a:lnTo>
                <a:lnTo>
                  <a:pt x="152108" y="443114"/>
                </a:lnTo>
                <a:lnTo>
                  <a:pt x="148028" y="454673"/>
                </a:lnTo>
                <a:lnTo>
                  <a:pt x="144174" y="466006"/>
                </a:lnTo>
                <a:lnTo>
                  <a:pt x="140774" y="477565"/>
                </a:lnTo>
                <a:lnTo>
                  <a:pt x="137373" y="489125"/>
                </a:lnTo>
                <a:lnTo>
                  <a:pt x="134426" y="500911"/>
                </a:lnTo>
                <a:lnTo>
                  <a:pt x="131706" y="512470"/>
                </a:lnTo>
                <a:lnTo>
                  <a:pt x="129213" y="524256"/>
                </a:lnTo>
                <a:lnTo>
                  <a:pt x="127172" y="536269"/>
                </a:lnTo>
                <a:lnTo>
                  <a:pt x="125359" y="548055"/>
                </a:lnTo>
                <a:lnTo>
                  <a:pt x="123772" y="560068"/>
                </a:lnTo>
                <a:lnTo>
                  <a:pt x="122185" y="571854"/>
                </a:lnTo>
                <a:lnTo>
                  <a:pt x="121278" y="583867"/>
                </a:lnTo>
                <a:lnTo>
                  <a:pt x="120598" y="595880"/>
                </a:lnTo>
                <a:lnTo>
                  <a:pt x="120145" y="607666"/>
                </a:lnTo>
                <a:lnTo>
                  <a:pt x="120145" y="619905"/>
                </a:lnTo>
                <a:lnTo>
                  <a:pt x="120145" y="631918"/>
                </a:lnTo>
                <a:lnTo>
                  <a:pt x="120598" y="643704"/>
                </a:lnTo>
                <a:lnTo>
                  <a:pt x="121278" y="655717"/>
                </a:lnTo>
                <a:lnTo>
                  <a:pt x="122185" y="667503"/>
                </a:lnTo>
                <a:lnTo>
                  <a:pt x="123772" y="679516"/>
                </a:lnTo>
                <a:lnTo>
                  <a:pt x="125359" y="691529"/>
                </a:lnTo>
                <a:lnTo>
                  <a:pt x="127172" y="703315"/>
                </a:lnTo>
                <a:lnTo>
                  <a:pt x="129213" y="715328"/>
                </a:lnTo>
                <a:lnTo>
                  <a:pt x="131706" y="726887"/>
                </a:lnTo>
                <a:lnTo>
                  <a:pt x="134426" y="738673"/>
                </a:lnTo>
                <a:lnTo>
                  <a:pt x="137373" y="750460"/>
                </a:lnTo>
                <a:lnTo>
                  <a:pt x="140774" y="762019"/>
                </a:lnTo>
                <a:lnTo>
                  <a:pt x="144174" y="773579"/>
                </a:lnTo>
                <a:lnTo>
                  <a:pt x="148028" y="784911"/>
                </a:lnTo>
                <a:lnTo>
                  <a:pt x="152108" y="796471"/>
                </a:lnTo>
                <a:lnTo>
                  <a:pt x="156642" y="807804"/>
                </a:lnTo>
                <a:lnTo>
                  <a:pt x="161402" y="819136"/>
                </a:lnTo>
                <a:lnTo>
                  <a:pt x="166390" y="830016"/>
                </a:lnTo>
                <a:lnTo>
                  <a:pt x="171603" y="841122"/>
                </a:lnTo>
                <a:lnTo>
                  <a:pt x="177271" y="852002"/>
                </a:lnTo>
                <a:lnTo>
                  <a:pt x="183164" y="862881"/>
                </a:lnTo>
                <a:lnTo>
                  <a:pt x="189058" y="873534"/>
                </a:lnTo>
                <a:lnTo>
                  <a:pt x="195632" y="884187"/>
                </a:lnTo>
                <a:lnTo>
                  <a:pt x="202433" y="894613"/>
                </a:lnTo>
                <a:lnTo>
                  <a:pt x="209460" y="904813"/>
                </a:lnTo>
                <a:lnTo>
                  <a:pt x="216714" y="915239"/>
                </a:lnTo>
                <a:lnTo>
                  <a:pt x="224195" y="925212"/>
                </a:lnTo>
                <a:lnTo>
                  <a:pt x="232129" y="934958"/>
                </a:lnTo>
                <a:lnTo>
                  <a:pt x="240290" y="944931"/>
                </a:lnTo>
                <a:lnTo>
                  <a:pt x="248678" y="954450"/>
                </a:lnTo>
                <a:lnTo>
                  <a:pt x="257518" y="963743"/>
                </a:lnTo>
                <a:lnTo>
                  <a:pt x="266359" y="973036"/>
                </a:lnTo>
                <a:lnTo>
                  <a:pt x="275654" y="982102"/>
                </a:lnTo>
                <a:lnTo>
                  <a:pt x="284948" y="990715"/>
                </a:lnTo>
                <a:lnTo>
                  <a:pt x="294695" y="999102"/>
                </a:lnTo>
                <a:lnTo>
                  <a:pt x="304443" y="1007261"/>
                </a:lnTo>
                <a:lnTo>
                  <a:pt x="314191" y="1015194"/>
                </a:lnTo>
                <a:lnTo>
                  <a:pt x="324392" y="1022674"/>
                </a:lnTo>
                <a:lnTo>
                  <a:pt x="334593" y="1029927"/>
                </a:lnTo>
                <a:lnTo>
                  <a:pt x="344794" y="1036953"/>
                </a:lnTo>
                <a:lnTo>
                  <a:pt x="355221" y="1043753"/>
                </a:lnTo>
                <a:lnTo>
                  <a:pt x="365876" y="1050099"/>
                </a:lnTo>
                <a:lnTo>
                  <a:pt x="376530" y="1056446"/>
                </a:lnTo>
                <a:lnTo>
                  <a:pt x="387411" y="1062339"/>
                </a:lnTo>
                <a:lnTo>
                  <a:pt x="398292" y="1067779"/>
                </a:lnTo>
                <a:lnTo>
                  <a:pt x="409400" y="1072992"/>
                </a:lnTo>
                <a:lnTo>
                  <a:pt x="420508" y="1078205"/>
                </a:lnTo>
                <a:lnTo>
                  <a:pt x="431615" y="1082738"/>
                </a:lnTo>
                <a:lnTo>
                  <a:pt x="443176" y="1087271"/>
                </a:lnTo>
                <a:lnTo>
                  <a:pt x="454511" y="1091351"/>
                </a:lnTo>
                <a:lnTo>
                  <a:pt x="466072" y="1095204"/>
                </a:lnTo>
                <a:lnTo>
                  <a:pt x="477406" y="1098830"/>
                </a:lnTo>
                <a:lnTo>
                  <a:pt x="489194" y="1102004"/>
                </a:lnTo>
                <a:lnTo>
                  <a:pt x="500755" y="1104950"/>
                </a:lnTo>
                <a:lnTo>
                  <a:pt x="512543" y="1107897"/>
                </a:lnTo>
                <a:lnTo>
                  <a:pt x="524331" y="1110163"/>
                </a:lnTo>
                <a:lnTo>
                  <a:pt x="536119" y="1112203"/>
                </a:lnTo>
                <a:lnTo>
                  <a:pt x="548133" y="1114243"/>
                </a:lnTo>
                <a:lnTo>
                  <a:pt x="559921" y="1115830"/>
                </a:lnTo>
                <a:lnTo>
                  <a:pt x="571936" y="1116963"/>
                </a:lnTo>
                <a:lnTo>
                  <a:pt x="583950" y="1118096"/>
                </a:lnTo>
                <a:lnTo>
                  <a:pt x="595738" y="1118776"/>
                </a:lnTo>
                <a:lnTo>
                  <a:pt x="607752" y="1119230"/>
                </a:lnTo>
                <a:lnTo>
                  <a:pt x="619540" y="1119230"/>
                </a:lnTo>
                <a:lnTo>
                  <a:pt x="631782" y="1119230"/>
                </a:lnTo>
                <a:lnTo>
                  <a:pt x="643796" y="1118776"/>
                </a:lnTo>
                <a:lnTo>
                  <a:pt x="655584" y="1118096"/>
                </a:lnTo>
                <a:lnTo>
                  <a:pt x="667598" y="1116963"/>
                </a:lnTo>
                <a:lnTo>
                  <a:pt x="679613" y="1115830"/>
                </a:lnTo>
                <a:lnTo>
                  <a:pt x="691401" y="1114243"/>
                </a:lnTo>
                <a:lnTo>
                  <a:pt x="703415" y="1112203"/>
                </a:lnTo>
                <a:lnTo>
                  <a:pt x="715203" y="1110163"/>
                </a:lnTo>
                <a:lnTo>
                  <a:pt x="726991" y="1107897"/>
                </a:lnTo>
                <a:lnTo>
                  <a:pt x="738779" y="1104950"/>
                </a:lnTo>
                <a:lnTo>
                  <a:pt x="750340" y="1102004"/>
                </a:lnTo>
                <a:lnTo>
                  <a:pt x="762128" y="1098830"/>
                </a:lnTo>
                <a:lnTo>
                  <a:pt x="773462" y="1095204"/>
                </a:lnTo>
                <a:lnTo>
                  <a:pt x="785023" y="1091351"/>
                </a:lnTo>
                <a:lnTo>
                  <a:pt x="796358" y="1087271"/>
                </a:lnTo>
                <a:lnTo>
                  <a:pt x="807692" y="1082738"/>
                </a:lnTo>
                <a:lnTo>
                  <a:pt x="819026" y="1078205"/>
                </a:lnTo>
                <a:lnTo>
                  <a:pt x="830134" y="1072992"/>
                </a:lnTo>
                <a:lnTo>
                  <a:pt x="841015" y="1067779"/>
                </a:lnTo>
                <a:lnTo>
                  <a:pt x="852123" y="1062339"/>
                </a:lnTo>
                <a:lnTo>
                  <a:pt x="862777" y="1056446"/>
                </a:lnTo>
                <a:lnTo>
                  <a:pt x="873658" y="1050099"/>
                </a:lnTo>
                <a:lnTo>
                  <a:pt x="884086" y="1043753"/>
                </a:lnTo>
                <a:lnTo>
                  <a:pt x="894740" y="1036953"/>
                </a:lnTo>
                <a:lnTo>
                  <a:pt x="904941" y="1029927"/>
                </a:lnTo>
                <a:lnTo>
                  <a:pt x="915142" y="1022674"/>
                </a:lnTo>
                <a:lnTo>
                  <a:pt x="925343" y="1015194"/>
                </a:lnTo>
                <a:lnTo>
                  <a:pt x="935091" y="1007261"/>
                </a:lnTo>
                <a:lnTo>
                  <a:pt x="944839" y="999102"/>
                </a:lnTo>
                <a:lnTo>
                  <a:pt x="954586" y="990715"/>
                </a:lnTo>
                <a:lnTo>
                  <a:pt x="963880" y="982102"/>
                </a:lnTo>
                <a:lnTo>
                  <a:pt x="972948" y="973036"/>
                </a:lnTo>
                <a:lnTo>
                  <a:pt x="982016" y="963743"/>
                </a:lnTo>
                <a:lnTo>
                  <a:pt x="990856" y="954450"/>
                </a:lnTo>
                <a:lnTo>
                  <a:pt x="999244" y="944931"/>
                </a:lnTo>
                <a:lnTo>
                  <a:pt x="1007405" y="934958"/>
                </a:lnTo>
                <a:lnTo>
                  <a:pt x="1015339" y="925212"/>
                </a:lnTo>
                <a:lnTo>
                  <a:pt x="1022820" y="915239"/>
                </a:lnTo>
                <a:lnTo>
                  <a:pt x="1030074" y="904813"/>
                </a:lnTo>
                <a:lnTo>
                  <a:pt x="1037101" y="894613"/>
                </a:lnTo>
                <a:lnTo>
                  <a:pt x="1043902" y="884187"/>
                </a:lnTo>
                <a:lnTo>
                  <a:pt x="1050249" y="873534"/>
                </a:lnTo>
                <a:lnTo>
                  <a:pt x="1056370" y="862881"/>
                </a:lnTo>
                <a:lnTo>
                  <a:pt x="1062263" y="852002"/>
                </a:lnTo>
                <a:lnTo>
                  <a:pt x="1067931" y="841122"/>
                </a:lnTo>
                <a:lnTo>
                  <a:pt x="1073144" y="830016"/>
                </a:lnTo>
                <a:lnTo>
                  <a:pt x="1078132" y="819136"/>
                </a:lnTo>
                <a:lnTo>
                  <a:pt x="1082892" y="807804"/>
                </a:lnTo>
                <a:lnTo>
                  <a:pt x="1087426" y="796471"/>
                </a:lnTo>
                <a:lnTo>
                  <a:pt x="1091280" y="784911"/>
                </a:lnTo>
                <a:lnTo>
                  <a:pt x="1095360" y="773579"/>
                </a:lnTo>
                <a:lnTo>
                  <a:pt x="1098760" y="762019"/>
                </a:lnTo>
                <a:lnTo>
                  <a:pt x="1102161" y="750460"/>
                </a:lnTo>
                <a:lnTo>
                  <a:pt x="1105108" y="738673"/>
                </a:lnTo>
                <a:lnTo>
                  <a:pt x="1107828" y="726887"/>
                </a:lnTo>
                <a:lnTo>
                  <a:pt x="1110321" y="715328"/>
                </a:lnTo>
                <a:lnTo>
                  <a:pt x="1112362" y="703315"/>
                </a:lnTo>
                <a:lnTo>
                  <a:pt x="1114175" y="691529"/>
                </a:lnTo>
                <a:lnTo>
                  <a:pt x="1115762" y="679516"/>
                </a:lnTo>
                <a:lnTo>
                  <a:pt x="1117122" y="667503"/>
                </a:lnTo>
                <a:lnTo>
                  <a:pt x="1118256" y="655717"/>
                </a:lnTo>
                <a:lnTo>
                  <a:pt x="1118936" y="643704"/>
                </a:lnTo>
                <a:lnTo>
                  <a:pt x="1119389" y="631918"/>
                </a:lnTo>
                <a:lnTo>
                  <a:pt x="1119389" y="619905"/>
                </a:lnTo>
                <a:lnTo>
                  <a:pt x="1119389" y="607666"/>
                </a:lnTo>
                <a:lnTo>
                  <a:pt x="1118936" y="595880"/>
                </a:lnTo>
                <a:lnTo>
                  <a:pt x="1118256" y="583867"/>
                </a:lnTo>
                <a:lnTo>
                  <a:pt x="1117122" y="571854"/>
                </a:lnTo>
                <a:lnTo>
                  <a:pt x="1115762" y="560068"/>
                </a:lnTo>
                <a:lnTo>
                  <a:pt x="1114175" y="548055"/>
                </a:lnTo>
                <a:lnTo>
                  <a:pt x="1112362" y="536269"/>
                </a:lnTo>
                <a:lnTo>
                  <a:pt x="1110321" y="524256"/>
                </a:lnTo>
                <a:lnTo>
                  <a:pt x="1107828" y="512470"/>
                </a:lnTo>
                <a:lnTo>
                  <a:pt x="1105108" y="500911"/>
                </a:lnTo>
                <a:lnTo>
                  <a:pt x="1102161" y="489125"/>
                </a:lnTo>
                <a:lnTo>
                  <a:pt x="1098760" y="477565"/>
                </a:lnTo>
                <a:lnTo>
                  <a:pt x="1095360" y="466006"/>
                </a:lnTo>
                <a:lnTo>
                  <a:pt x="1091280" y="454673"/>
                </a:lnTo>
                <a:lnTo>
                  <a:pt x="1087426" y="443114"/>
                </a:lnTo>
                <a:lnTo>
                  <a:pt x="1082892" y="431554"/>
                </a:lnTo>
                <a:lnTo>
                  <a:pt x="1078132" y="420448"/>
                </a:lnTo>
                <a:lnTo>
                  <a:pt x="1073144" y="409342"/>
                </a:lnTo>
                <a:lnTo>
                  <a:pt x="1067931" y="398462"/>
                </a:lnTo>
                <a:lnTo>
                  <a:pt x="1062263" y="387583"/>
                </a:lnTo>
                <a:lnTo>
                  <a:pt x="1056370" y="376703"/>
                </a:lnTo>
                <a:lnTo>
                  <a:pt x="1050249" y="366050"/>
                </a:lnTo>
                <a:lnTo>
                  <a:pt x="1043902" y="355397"/>
                </a:lnTo>
                <a:lnTo>
                  <a:pt x="1037101" y="344971"/>
                </a:lnTo>
                <a:lnTo>
                  <a:pt x="1030074" y="334545"/>
                </a:lnTo>
                <a:lnTo>
                  <a:pt x="1022820" y="324346"/>
                </a:lnTo>
                <a:lnTo>
                  <a:pt x="1015339" y="314373"/>
                </a:lnTo>
                <a:lnTo>
                  <a:pt x="1007405" y="304400"/>
                </a:lnTo>
                <a:lnTo>
                  <a:pt x="999244" y="294654"/>
                </a:lnTo>
                <a:lnTo>
                  <a:pt x="990856" y="285134"/>
                </a:lnTo>
                <a:lnTo>
                  <a:pt x="982016" y="275614"/>
                </a:lnTo>
                <a:lnTo>
                  <a:pt x="972948" y="266548"/>
                </a:lnTo>
                <a:lnTo>
                  <a:pt x="963880" y="257482"/>
                </a:lnTo>
                <a:lnTo>
                  <a:pt x="954586" y="248869"/>
                </a:lnTo>
                <a:lnTo>
                  <a:pt x="944839" y="240483"/>
                </a:lnTo>
                <a:lnTo>
                  <a:pt x="935091" y="232323"/>
                </a:lnTo>
                <a:lnTo>
                  <a:pt x="925343" y="224163"/>
                </a:lnTo>
                <a:lnTo>
                  <a:pt x="915142" y="216684"/>
                </a:lnTo>
                <a:lnTo>
                  <a:pt x="904941" y="209431"/>
                </a:lnTo>
                <a:lnTo>
                  <a:pt x="894740" y="202631"/>
                </a:lnTo>
                <a:lnTo>
                  <a:pt x="884086" y="195831"/>
                </a:lnTo>
                <a:lnTo>
                  <a:pt x="873658" y="189485"/>
                </a:lnTo>
                <a:lnTo>
                  <a:pt x="862777" y="183139"/>
                </a:lnTo>
                <a:lnTo>
                  <a:pt x="852123" y="177246"/>
                </a:lnTo>
                <a:lnTo>
                  <a:pt x="841015" y="171579"/>
                </a:lnTo>
                <a:lnTo>
                  <a:pt x="830134" y="166593"/>
                </a:lnTo>
                <a:lnTo>
                  <a:pt x="819026" y="161380"/>
                </a:lnTo>
                <a:lnTo>
                  <a:pt x="807692" y="156620"/>
                </a:lnTo>
                <a:lnTo>
                  <a:pt x="796358" y="152313"/>
                </a:lnTo>
                <a:lnTo>
                  <a:pt x="785023" y="148234"/>
                </a:lnTo>
                <a:lnTo>
                  <a:pt x="773462" y="144380"/>
                </a:lnTo>
                <a:lnTo>
                  <a:pt x="762128" y="140754"/>
                </a:lnTo>
                <a:lnTo>
                  <a:pt x="750340" y="137581"/>
                </a:lnTo>
                <a:lnTo>
                  <a:pt x="738779" y="134407"/>
                </a:lnTo>
                <a:lnTo>
                  <a:pt x="726991" y="131688"/>
                </a:lnTo>
                <a:lnTo>
                  <a:pt x="715203" y="129421"/>
                </a:lnTo>
                <a:lnTo>
                  <a:pt x="703415" y="127154"/>
                </a:lnTo>
                <a:lnTo>
                  <a:pt x="691401" y="125341"/>
                </a:lnTo>
                <a:lnTo>
                  <a:pt x="679613" y="123755"/>
                </a:lnTo>
                <a:lnTo>
                  <a:pt x="667598" y="122621"/>
                </a:lnTo>
                <a:lnTo>
                  <a:pt x="655584" y="121488"/>
                </a:lnTo>
                <a:lnTo>
                  <a:pt x="643796" y="120581"/>
                </a:lnTo>
                <a:lnTo>
                  <a:pt x="631782" y="120128"/>
                </a:lnTo>
                <a:lnTo>
                  <a:pt x="619540" y="120128"/>
                </a:lnTo>
                <a:lnTo>
                  <a:pt x="607752" y="120128"/>
                </a:lnTo>
                <a:close/>
                <a:moveTo>
                  <a:pt x="619540" y="0"/>
                </a:moveTo>
                <a:lnTo>
                  <a:pt x="634502" y="227"/>
                </a:lnTo>
                <a:lnTo>
                  <a:pt x="649690" y="907"/>
                </a:lnTo>
                <a:lnTo>
                  <a:pt x="664198" y="1587"/>
                </a:lnTo>
                <a:lnTo>
                  <a:pt x="678933" y="3173"/>
                </a:lnTo>
                <a:lnTo>
                  <a:pt x="694121" y="4533"/>
                </a:lnTo>
                <a:lnTo>
                  <a:pt x="708629" y="6573"/>
                </a:lnTo>
                <a:lnTo>
                  <a:pt x="723364" y="8840"/>
                </a:lnTo>
                <a:lnTo>
                  <a:pt x="738098" y="11560"/>
                </a:lnTo>
                <a:lnTo>
                  <a:pt x="752607" y="14506"/>
                </a:lnTo>
                <a:lnTo>
                  <a:pt x="767115" y="17906"/>
                </a:lnTo>
                <a:lnTo>
                  <a:pt x="781623" y="21533"/>
                </a:lnTo>
                <a:lnTo>
                  <a:pt x="796131" y="25839"/>
                </a:lnTo>
                <a:lnTo>
                  <a:pt x="810412" y="30146"/>
                </a:lnTo>
                <a:lnTo>
                  <a:pt x="824694" y="34905"/>
                </a:lnTo>
                <a:lnTo>
                  <a:pt x="838975" y="40118"/>
                </a:lnTo>
                <a:lnTo>
                  <a:pt x="853030" y="45558"/>
                </a:lnTo>
                <a:lnTo>
                  <a:pt x="866858" y="51451"/>
                </a:lnTo>
                <a:lnTo>
                  <a:pt x="880686" y="57571"/>
                </a:lnTo>
                <a:lnTo>
                  <a:pt x="894514" y="64144"/>
                </a:lnTo>
                <a:lnTo>
                  <a:pt x="907888" y="71170"/>
                </a:lnTo>
                <a:lnTo>
                  <a:pt x="921263" y="78423"/>
                </a:lnTo>
                <a:lnTo>
                  <a:pt x="934638" y="85903"/>
                </a:lnTo>
                <a:lnTo>
                  <a:pt x="947786" y="93836"/>
                </a:lnTo>
                <a:lnTo>
                  <a:pt x="960934" y="102222"/>
                </a:lnTo>
                <a:lnTo>
                  <a:pt x="973401" y="110835"/>
                </a:lnTo>
                <a:lnTo>
                  <a:pt x="986096" y="119901"/>
                </a:lnTo>
                <a:lnTo>
                  <a:pt x="998791" y="129421"/>
                </a:lnTo>
                <a:lnTo>
                  <a:pt x="1010805" y="139167"/>
                </a:lnTo>
                <a:lnTo>
                  <a:pt x="1023046" y="149140"/>
                </a:lnTo>
                <a:lnTo>
                  <a:pt x="1034607" y="159793"/>
                </a:lnTo>
                <a:lnTo>
                  <a:pt x="1046395" y="170446"/>
                </a:lnTo>
                <a:lnTo>
                  <a:pt x="1057956" y="181779"/>
                </a:lnTo>
                <a:lnTo>
                  <a:pt x="1067251" y="191072"/>
                </a:lnTo>
                <a:lnTo>
                  <a:pt x="1076318" y="200591"/>
                </a:lnTo>
                <a:lnTo>
                  <a:pt x="1084932" y="210564"/>
                </a:lnTo>
                <a:lnTo>
                  <a:pt x="1093546" y="220310"/>
                </a:lnTo>
                <a:lnTo>
                  <a:pt x="1101934" y="230283"/>
                </a:lnTo>
                <a:lnTo>
                  <a:pt x="1110095" y="240709"/>
                </a:lnTo>
                <a:lnTo>
                  <a:pt x="1117802" y="250909"/>
                </a:lnTo>
                <a:lnTo>
                  <a:pt x="1125510" y="261108"/>
                </a:lnTo>
                <a:lnTo>
                  <a:pt x="1132764" y="271988"/>
                </a:lnTo>
                <a:lnTo>
                  <a:pt x="1139791" y="282414"/>
                </a:lnTo>
                <a:lnTo>
                  <a:pt x="1146592" y="293294"/>
                </a:lnTo>
                <a:lnTo>
                  <a:pt x="1153166" y="304173"/>
                </a:lnTo>
                <a:lnTo>
                  <a:pt x="1159513" y="315279"/>
                </a:lnTo>
                <a:lnTo>
                  <a:pt x="1165634" y="326159"/>
                </a:lnTo>
                <a:lnTo>
                  <a:pt x="1171527" y="337492"/>
                </a:lnTo>
                <a:lnTo>
                  <a:pt x="1177195" y="348598"/>
                </a:lnTo>
                <a:lnTo>
                  <a:pt x="1182408" y="360157"/>
                </a:lnTo>
                <a:lnTo>
                  <a:pt x="1187622" y="371490"/>
                </a:lnTo>
                <a:lnTo>
                  <a:pt x="1192610" y="383050"/>
                </a:lnTo>
                <a:lnTo>
                  <a:pt x="1197143" y="394609"/>
                </a:lnTo>
                <a:lnTo>
                  <a:pt x="1201677" y="406395"/>
                </a:lnTo>
                <a:lnTo>
                  <a:pt x="1205984" y="418181"/>
                </a:lnTo>
                <a:lnTo>
                  <a:pt x="1209611" y="429741"/>
                </a:lnTo>
                <a:lnTo>
                  <a:pt x="1213465" y="441754"/>
                </a:lnTo>
                <a:lnTo>
                  <a:pt x="1216865" y="453540"/>
                </a:lnTo>
                <a:lnTo>
                  <a:pt x="1219812" y="465552"/>
                </a:lnTo>
                <a:lnTo>
                  <a:pt x="1222986" y="477792"/>
                </a:lnTo>
                <a:lnTo>
                  <a:pt x="1225706" y="489578"/>
                </a:lnTo>
                <a:lnTo>
                  <a:pt x="1228200" y="501818"/>
                </a:lnTo>
                <a:lnTo>
                  <a:pt x="1230240" y="514057"/>
                </a:lnTo>
                <a:lnTo>
                  <a:pt x="1232280" y="526070"/>
                </a:lnTo>
                <a:lnTo>
                  <a:pt x="1233867" y="538536"/>
                </a:lnTo>
                <a:lnTo>
                  <a:pt x="1235680" y="550775"/>
                </a:lnTo>
                <a:lnTo>
                  <a:pt x="1236814" y="563015"/>
                </a:lnTo>
                <a:lnTo>
                  <a:pt x="1237720" y="575254"/>
                </a:lnTo>
                <a:lnTo>
                  <a:pt x="1238401" y="587720"/>
                </a:lnTo>
                <a:lnTo>
                  <a:pt x="1239081" y="599733"/>
                </a:lnTo>
                <a:lnTo>
                  <a:pt x="1239307" y="612199"/>
                </a:lnTo>
                <a:lnTo>
                  <a:pt x="1239307" y="624665"/>
                </a:lnTo>
                <a:lnTo>
                  <a:pt x="1239081" y="636678"/>
                </a:lnTo>
                <a:lnTo>
                  <a:pt x="1238627" y="649144"/>
                </a:lnTo>
                <a:lnTo>
                  <a:pt x="1237947" y="661610"/>
                </a:lnTo>
                <a:lnTo>
                  <a:pt x="1237040" y="673623"/>
                </a:lnTo>
                <a:lnTo>
                  <a:pt x="1235907" y="686089"/>
                </a:lnTo>
                <a:lnTo>
                  <a:pt x="1234320" y="698102"/>
                </a:lnTo>
                <a:lnTo>
                  <a:pt x="1232507" y="710341"/>
                </a:lnTo>
                <a:lnTo>
                  <a:pt x="1230693" y="722807"/>
                </a:lnTo>
                <a:lnTo>
                  <a:pt x="1228653" y="734820"/>
                </a:lnTo>
                <a:lnTo>
                  <a:pt x="1226159" y="746833"/>
                </a:lnTo>
                <a:lnTo>
                  <a:pt x="1223439" y="759073"/>
                </a:lnTo>
                <a:lnTo>
                  <a:pt x="1220719" y="771085"/>
                </a:lnTo>
                <a:lnTo>
                  <a:pt x="1217545" y="783098"/>
                </a:lnTo>
                <a:lnTo>
                  <a:pt x="1214145" y="795111"/>
                </a:lnTo>
                <a:lnTo>
                  <a:pt x="1210518" y="806897"/>
                </a:lnTo>
                <a:lnTo>
                  <a:pt x="1206664" y="818683"/>
                </a:lnTo>
                <a:lnTo>
                  <a:pt x="1202357" y="830469"/>
                </a:lnTo>
                <a:lnTo>
                  <a:pt x="1198277" y="842255"/>
                </a:lnTo>
                <a:lnTo>
                  <a:pt x="1193516" y="853588"/>
                </a:lnTo>
                <a:lnTo>
                  <a:pt x="1188529" y="865374"/>
                </a:lnTo>
                <a:lnTo>
                  <a:pt x="1183769" y="876934"/>
                </a:lnTo>
                <a:lnTo>
                  <a:pt x="1178328" y="888267"/>
                </a:lnTo>
                <a:lnTo>
                  <a:pt x="1172661" y="899599"/>
                </a:lnTo>
                <a:lnTo>
                  <a:pt x="1166767" y="910706"/>
                </a:lnTo>
                <a:lnTo>
                  <a:pt x="1160646" y="921812"/>
                </a:lnTo>
                <a:lnTo>
                  <a:pt x="1534229" y="1295115"/>
                </a:lnTo>
                <a:lnTo>
                  <a:pt x="1540350" y="1301461"/>
                </a:lnTo>
                <a:lnTo>
                  <a:pt x="1545790" y="1308034"/>
                </a:lnTo>
                <a:lnTo>
                  <a:pt x="1551231" y="1314607"/>
                </a:lnTo>
                <a:lnTo>
                  <a:pt x="1556445" y="1321407"/>
                </a:lnTo>
                <a:lnTo>
                  <a:pt x="1560752" y="1328433"/>
                </a:lnTo>
                <a:lnTo>
                  <a:pt x="1565286" y="1335460"/>
                </a:lnTo>
                <a:lnTo>
                  <a:pt x="1569366" y="1342713"/>
                </a:lnTo>
                <a:lnTo>
                  <a:pt x="1572766" y="1349966"/>
                </a:lnTo>
                <a:lnTo>
                  <a:pt x="1576167" y="1357219"/>
                </a:lnTo>
                <a:lnTo>
                  <a:pt x="1578887" y="1364698"/>
                </a:lnTo>
                <a:lnTo>
                  <a:pt x="1581381" y="1372178"/>
                </a:lnTo>
                <a:lnTo>
                  <a:pt x="1583648" y="1379658"/>
                </a:lnTo>
                <a:lnTo>
                  <a:pt x="1585461" y="1387137"/>
                </a:lnTo>
                <a:lnTo>
                  <a:pt x="1586821" y="1394617"/>
                </a:lnTo>
                <a:lnTo>
                  <a:pt x="1587955" y="1402323"/>
                </a:lnTo>
                <a:lnTo>
                  <a:pt x="1588635" y="1409803"/>
                </a:lnTo>
                <a:lnTo>
                  <a:pt x="1589088" y="1417283"/>
                </a:lnTo>
                <a:lnTo>
                  <a:pt x="1589088" y="1424762"/>
                </a:lnTo>
                <a:lnTo>
                  <a:pt x="1588861" y="1432242"/>
                </a:lnTo>
                <a:lnTo>
                  <a:pt x="1588181" y="1439495"/>
                </a:lnTo>
                <a:lnTo>
                  <a:pt x="1587274" y="1446748"/>
                </a:lnTo>
                <a:lnTo>
                  <a:pt x="1585914" y="1454001"/>
                </a:lnTo>
                <a:lnTo>
                  <a:pt x="1584101" y="1461027"/>
                </a:lnTo>
                <a:lnTo>
                  <a:pt x="1581834" y="1467827"/>
                </a:lnTo>
                <a:lnTo>
                  <a:pt x="1579340" y="1474627"/>
                </a:lnTo>
                <a:lnTo>
                  <a:pt x="1576620" y="1481200"/>
                </a:lnTo>
                <a:lnTo>
                  <a:pt x="1573220" y="1487773"/>
                </a:lnTo>
                <a:lnTo>
                  <a:pt x="1569593" y="1494119"/>
                </a:lnTo>
                <a:lnTo>
                  <a:pt x="1565512" y="1500239"/>
                </a:lnTo>
                <a:lnTo>
                  <a:pt x="1561432" y="1506132"/>
                </a:lnTo>
                <a:lnTo>
                  <a:pt x="1556445" y="1511572"/>
                </a:lnTo>
                <a:lnTo>
                  <a:pt x="1551231" y="1517011"/>
                </a:lnTo>
                <a:lnTo>
                  <a:pt x="1517228" y="1551237"/>
                </a:lnTo>
                <a:lnTo>
                  <a:pt x="1511787" y="1556223"/>
                </a:lnTo>
                <a:lnTo>
                  <a:pt x="1506120" y="1561209"/>
                </a:lnTo>
                <a:lnTo>
                  <a:pt x="1500226" y="1565516"/>
                </a:lnTo>
                <a:lnTo>
                  <a:pt x="1494106" y="1569369"/>
                </a:lnTo>
                <a:lnTo>
                  <a:pt x="1487985" y="1573222"/>
                </a:lnTo>
                <a:lnTo>
                  <a:pt x="1481411" y="1576395"/>
                </a:lnTo>
                <a:lnTo>
                  <a:pt x="1474837" y="1579342"/>
                </a:lnTo>
                <a:lnTo>
                  <a:pt x="1468036" y="1581835"/>
                </a:lnTo>
                <a:lnTo>
                  <a:pt x="1461009" y="1583875"/>
                </a:lnTo>
                <a:lnTo>
                  <a:pt x="1453982" y="1585688"/>
                </a:lnTo>
                <a:lnTo>
                  <a:pt x="1446728" y="1587275"/>
                </a:lnTo>
                <a:lnTo>
                  <a:pt x="1439474" y="1588182"/>
                </a:lnTo>
                <a:lnTo>
                  <a:pt x="1432219" y="1588862"/>
                </a:lnTo>
                <a:lnTo>
                  <a:pt x="1424739" y="1589088"/>
                </a:lnTo>
                <a:lnTo>
                  <a:pt x="1417258" y="1589088"/>
                </a:lnTo>
                <a:lnTo>
                  <a:pt x="1409777" y="1588862"/>
                </a:lnTo>
                <a:lnTo>
                  <a:pt x="1402296" y="1587955"/>
                </a:lnTo>
                <a:lnTo>
                  <a:pt x="1394589" y="1587048"/>
                </a:lnTo>
                <a:lnTo>
                  <a:pt x="1387108" y="1585235"/>
                </a:lnTo>
                <a:lnTo>
                  <a:pt x="1379628" y="1583422"/>
                </a:lnTo>
                <a:lnTo>
                  <a:pt x="1372147" y="1581382"/>
                </a:lnTo>
                <a:lnTo>
                  <a:pt x="1364666" y="1578662"/>
                </a:lnTo>
                <a:lnTo>
                  <a:pt x="1357186" y="1575942"/>
                </a:lnTo>
                <a:lnTo>
                  <a:pt x="1349931" y="1572769"/>
                </a:lnTo>
                <a:lnTo>
                  <a:pt x="1342677" y="1569142"/>
                </a:lnTo>
                <a:lnTo>
                  <a:pt x="1335423" y="1565289"/>
                </a:lnTo>
                <a:lnTo>
                  <a:pt x="1328396" y="1560756"/>
                </a:lnTo>
                <a:lnTo>
                  <a:pt x="1321369" y="1556223"/>
                </a:lnTo>
                <a:lnTo>
                  <a:pt x="1314568" y="1551237"/>
                </a:lnTo>
                <a:lnTo>
                  <a:pt x="1307994" y="1545797"/>
                </a:lnTo>
                <a:lnTo>
                  <a:pt x="1301420" y="1540130"/>
                </a:lnTo>
                <a:lnTo>
                  <a:pt x="1295299" y="1534011"/>
                </a:lnTo>
                <a:lnTo>
                  <a:pt x="921716" y="1160708"/>
                </a:lnTo>
                <a:lnTo>
                  <a:pt x="910835" y="1166827"/>
                </a:lnTo>
                <a:lnTo>
                  <a:pt x="899501" y="1172720"/>
                </a:lnTo>
                <a:lnTo>
                  <a:pt x="888166" y="1178160"/>
                </a:lnTo>
                <a:lnTo>
                  <a:pt x="876832" y="1183600"/>
                </a:lnTo>
                <a:lnTo>
                  <a:pt x="865498" y="1188586"/>
                </a:lnTo>
                <a:lnTo>
                  <a:pt x="853710" y="1193346"/>
                </a:lnTo>
                <a:lnTo>
                  <a:pt x="842375" y="1198106"/>
                </a:lnTo>
                <a:lnTo>
                  <a:pt x="830588" y="1202412"/>
                </a:lnTo>
                <a:lnTo>
                  <a:pt x="818573" y="1206492"/>
                </a:lnTo>
                <a:lnTo>
                  <a:pt x="807012" y="1210572"/>
                </a:lnTo>
                <a:lnTo>
                  <a:pt x="794997" y="1213972"/>
                </a:lnTo>
                <a:lnTo>
                  <a:pt x="783210" y="1217598"/>
                </a:lnTo>
                <a:lnTo>
                  <a:pt x="771195" y="1220545"/>
                </a:lnTo>
                <a:lnTo>
                  <a:pt x="758954" y="1223265"/>
                </a:lnTo>
                <a:lnTo>
                  <a:pt x="746939" y="1226211"/>
                </a:lnTo>
                <a:lnTo>
                  <a:pt x="734698" y="1228478"/>
                </a:lnTo>
                <a:lnTo>
                  <a:pt x="722457" y="1230518"/>
                </a:lnTo>
                <a:lnTo>
                  <a:pt x="710442" y="1232784"/>
                </a:lnTo>
                <a:lnTo>
                  <a:pt x="698201" y="1234371"/>
                </a:lnTo>
                <a:lnTo>
                  <a:pt x="685960" y="1235731"/>
                </a:lnTo>
                <a:lnTo>
                  <a:pt x="673719" y="1236864"/>
                </a:lnTo>
                <a:lnTo>
                  <a:pt x="661478" y="1237771"/>
                </a:lnTo>
                <a:lnTo>
                  <a:pt x="649010" y="1238451"/>
                </a:lnTo>
                <a:lnTo>
                  <a:pt x="636769" y="1239131"/>
                </a:lnTo>
                <a:lnTo>
                  <a:pt x="624527" y="1239357"/>
                </a:lnTo>
                <a:lnTo>
                  <a:pt x="612060" y="1239357"/>
                </a:lnTo>
                <a:lnTo>
                  <a:pt x="599818" y="1239131"/>
                </a:lnTo>
                <a:lnTo>
                  <a:pt x="587577" y="1238451"/>
                </a:lnTo>
                <a:lnTo>
                  <a:pt x="575109" y="1237544"/>
                </a:lnTo>
                <a:lnTo>
                  <a:pt x="562868" y="1236638"/>
                </a:lnTo>
                <a:lnTo>
                  <a:pt x="550627" y="1235504"/>
                </a:lnTo>
                <a:lnTo>
                  <a:pt x="538612" y="1233918"/>
                </a:lnTo>
                <a:lnTo>
                  <a:pt x="526145" y="1232331"/>
                </a:lnTo>
                <a:lnTo>
                  <a:pt x="513903" y="1230291"/>
                </a:lnTo>
                <a:lnTo>
                  <a:pt x="501889" y="1228025"/>
                </a:lnTo>
                <a:lnTo>
                  <a:pt x="489648" y="1225758"/>
                </a:lnTo>
                <a:lnTo>
                  <a:pt x="477633" y="1222811"/>
                </a:lnTo>
                <a:lnTo>
                  <a:pt x="465619" y="1219865"/>
                </a:lnTo>
                <a:lnTo>
                  <a:pt x="453604" y="1216918"/>
                </a:lnTo>
                <a:lnTo>
                  <a:pt x="441590" y="1213292"/>
                </a:lnTo>
                <a:lnTo>
                  <a:pt x="429802" y="1209665"/>
                </a:lnTo>
                <a:lnTo>
                  <a:pt x="418014" y="1205812"/>
                </a:lnTo>
                <a:lnTo>
                  <a:pt x="406453" y="1201506"/>
                </a:lnTo>
                <a:lnTo>
                  <a:pt x="394665" y="1197199"/>
                </a:lnTo>
                <a:lnTo>
                  <a:pt x="383104" y="1192440"/>
                </a:lnTo>
                <a:lnTo>
                  <a:pt x="371543" y="1187680"/>
                </a:lnTo>
                <a:lnTo>
                  <a:pt x="359982" y="1182467"/>
                </a:lnTo>
                <a:lnTo>
                  <a:pt x="348647" y="1177027"/>
                </a:lnTo>
                <a:lnTo>
                  <a:pt x="337313" y="1171360"/>
                </a:lnTo>
                <a:lnTo>
                  <a:pt x="326205" y="1165694"/>
                </a:lnTo>
                <a:lnTo>
                  <a:pt x="315097" y="1159574"/>
                </a:lnTo>
                <a:lnTo>
                  <a:pt x="304216" y="1153228"/>
                </a:lnTo>
                <a:lnTo>
                  <a:pt x="293109" y="1146655"/>
                </a:lnTo>
                <a:lnTo>
                  <a:pt x="282454" y="1139629"/>
                </a:lnTo>
                <a:lnTo>
                  <a:pt x="272026" y="1132602"/>
                </a:lnTo>
                <a:lnTo>
                  <a:pt x="261145" y="1125349"/>
                </a:lnTo>
                <a:lnTo>
                  <a:pt x="250944" y="1117643"/>
                </a:lnTo>
                <a:lnTo>
                  <a:pt x="240517" y="1109937"/>
                </a:lnTo>
                <a:lnTo>
                  <a:pt x="230316" y="1101777"/>
                </a:lnTo>
                <a:lnTo>
                  <a:pt x="220341" y="1093617"/>
                </a:lnTo>
                <a:lnTo>
                  <a:pt x="210367" y="1085004"/>
                </a:lnTo>
                <a:lnTo>
                  <a:pt x="200620" y="1076391"/>
                </a:lnTo>
                <a:lnTo>
                  <a:pt x="191099" y="1067099"/>
                </a:lnTo>
                <a:lnTo>
                  <a:pt x="181578" y="1057806"/>
                </a:lnTo>
                <a:lnTo>
                  <a:pt x="170470" y="1046473"/>
                </a:lnTo>
                <a:lnTo>
                  <a:pt x="159589" y="1034913"/>
                </a:lnTo>
                <a:lnTo>
                  <a:pt x="149161" y="1022901"/>
                </a:lnTo>
                <a:lnTo>
                  <a:pt x="139187" y="1010888"/>
                </a:lnTo>
                <a:lnTo>
                  <a:pt x="129213" y="998648"/>
                </a:lnTo>
                <a:lnTo>
                  <a:pt x="119918" y="985956"/>
                </a:lnTo>
                <a:lnTo>
                  <a:pt x="110851" y="973489"/>
                </a:lnTo>
                <a:lnTo>
                  <a:pt x="102237" y="960797"/>
                </a:lnTo>
                <a:lnTo>
                  <a:pt x="93849" y="947651"/>
                </a:lnTo>
                <a:lnTo>
                  <a:pt x="85688" y="934505"/>
                </a:lnTo>
                <a:lnTo>
                  <a:pt x="78208" y="921358"/>
                </a:lnTo>
                <a:lnTo>
                  <a:pt x="70954" y="907986"/>
                </a:lnTo>
                <a:lnTo>
                  <a:pt x="64153" y="894386"/>
                </a:lnTo>
                <a:lnTo>
                  <a:pt x="57579" y="880560"/>
                </a:lnTo>
                <a:lnTo>
                  <a:pt x="51232" y="866734"/>
                </a:lnTo>
                <a:lnTo>
                  <a:pt x="45338" y="852908"/>
                </a:lnTo>
                <a:lnTo>
                  <a:pt x="39897" y="838856"/>
                </a:lnTo>
                <a:lnTo>
                  <a:pt x="34910" y="824803"/>
                </a:lnTo>
                <a:lnTo>
                  <a:pt x="30150" y="810524"/>
                </a:lnTo>
                <a:lnTo>
                  <a:pt x="25616" y="796244"/>
                </a:lnTo>
                <a:lnTo>
                  <a:pt x="21535" y="781738"/>
                </a:lnTo>
                <a:lnTo>
                  <a:pt x="17682" y="767232"/>
                </a:lnTo>
                <a:lnTo>
                  <a:pt x="14508" y="752726"/>
                </a:lnTo>
                <a:lnTo>
                  <a:pt x="11334" y="738220"/>
                </a:lnTo>
                <a:lnTo>
                  <a:pt x="8841" y="723487"/>
                </a:lnTo>
                <a:lnTo>
                  <a:pt x="6574" y="708755"/>
                </a:lnTo>
                <a:lnTo>
                  <a:pt x="4307" y="694022"/>
                </a:lnTo>
                <a:lnTo>
                  <a:pt x="2947" y="679289"/>
                </a:lnTo>
                <a:lnTo>
                  <a:pt x="1587" y="664330"/>
                </a:lnTo>
                <a:lnTo>
                  <a:pt x="680" y="649597"/>
                </a:lnTo>
                <a:lnTo>
                  <a:pt x="227" y="634638"/>
                </a:lnTo>
                <a:lnTo>
                  <a:pt x="0" y="619905"/>
                </a:lnTo>
                <a:lnTo>
                  <a:pt x="227" y="604946"/>
                </a:lnTo>
                <a:lnTo>
                  <a:pt x="680" y="589987"/>
                </a:lnTo>
                <a:lnTo>
                  <a:pt x="1587" y="575254"/>
                </a:lnTo>
                <a:lnTo>
                  <a:pt x="2947" y="560295"/>
                </a:lnTo>
                <a:lnTo>
                  <a:pt x="4307" y="545562"/>
                </a:lnTo>
                <a:lnTo>
                  <a:pt x="6574" y="530830"/>
                </a:lnTo>
                <a:lnTo>
                  <a:pt x="8841" y="516097"/>
                </a:lnTo>
                <a:lnTo>
                  <a:pt x="11334" y="501364"/>
                </a:lnTo>
                <a:lnTo>
                  <a:pt x="14508" y="486858"/>
                </a:lnTo>
                <a:lnTo>
                  <a:pt x="17682" y="472352"/>
                </a:lnTo>
                <a:lnTo>
                  <a:pt x="21535" y="457846"/>
                </a:lnTo>
                <a:lnTo>
                  <a:pt x="25616" y="443340"/>
                </a:lnTo>
                <a:lnTo>
                  <a:pt x="30150" y="429061"/>
                </a:lnTo>
                <a:lnTo>
                  <a:pt x="34910" y="414781"/>
                </a:lnTo>
                <a:lnTo>
                  <a:pt x="39897" y="400502"/>
                </a:lnTo>
                <a:lnTo>
                  <a:pt x="45338" y="386449"/>
                </a:lnTo>
                <a:lnTo>
                  <a:pt x="51232" y="372850"/>
                </a:lnTo>
                <a:lnTo>
                  <a:pt x="57579" y="359024"/>
                </a:lnTo>
                <a:lnTo>
                  <a:pt x="64153" y="345198"/>
                </a:lnTo>
                <a:lnTo>
                  <a:pt x="70954" y="331599"/>
                </a:lnTo>
                <a:lnTo>
                  <a:pt x="78208" y="318226"/>
                </a:lnTo>
                <a:lnTo>
                  <a:pt x="85688" y="304853"/>
                </a:lnTo>
                <a:lnTo>
                  <a:pt x="93849" y="291934"/>
                </a:lnTo>
                <a:lnTo>
                  <a:pt x="102237" y="278788"/>
                </a:lnTo>
                <a:lnTo>
                  <a:pt x="110851" y="266095"/>
                </a:lnTo>
                <a:lnTo>
                  <a:pt x="119918" y="253402"/>
                </a:lnTo>
                <a:lnTo>
                  <a:pt x="129213" y="240936"/>
                </a:lnTo>
                <a:lnTo>
                  <a:pt x="139187" y="228697"/>
                </a:lnTo>
                <a:lnTo>
                  <a:pt x="149161" y="216457"/>
                </a:lnTo>
                <a:lnTo>
                  <a:pt x="159589" y="204671"/>
                </a:lnTo>
                <a:lnTo>
                  <a:pt x="170470" y="193111"/>
                </a:lnTo>
                <a:lnTo>
                  <a:pt x="181578" y="181779"/>
                </a:lnTo>
                <a:lnTo>
                  <a:pt x="193139" y="170446"/>
                </a:lnTo>
                <a:lnTo>
                  <a:pt x="204473" y="159793"/>
                </a:lnTo>
                <a:lnTo>
                  <a:pt x="216488" y="149140"/>
                </a:lnTo>
                <a:lnTo>
                  <a:pt x="228729" y="139167"/>
                </a:lnTo>
                <a:lnTo>
                  <a:pt x="240743" y="129421"/>
                </a:lnTo>
                <a:lnTo>
                  <a:pt x="253438" y="119901"/>
                </a:lnTo>
                <a:lnTo>
                  <a:pt x="266133" y="110835"/>
                </a:lnTo>
                <a:lnTo>
                  <a:pt x="278600" y="102222"/>
                </a:lnTo>
                <a:lnTo>
                  <a:pt x="291748" y="93836"/>
                </a:lnTo>
                <a:lnTo>
                  <a:pt x="304896" y="85903"/>
                </a:lnTo>
                <a:lnTo>
                  <a:pt x="318271" y="78423"/>
                </a:lnTo>
                <a:lnTo>
                  <a:pt x="331646" y="71170"/>
                </a:lnTo>
                <a:lnTo>
                  <a:pt x="345020" y="64144"/>
                </a:lnTo>
                <a:lnTo>
                  <a:pt x="358848" y="57571"/>
                </a:lnTo>
                <a:lnTo>
                  <a:pt x="372676" y="51451"/>
                </a:lnTo>
                <a:lnTo>
                  <a:pt x="386504" y="45558"/>
                </a:lnTo>
                <a:lnTo>
                  <a:pt x="400559" y="40118"/>
                </a:lnTo>
                <a:lnTo>
                  <a:pt x="414840" y="34905"/>
                </a:lnTo>
                <a:lnTo>
                  <a:pt x="429122" y="30146"/>
                </a:lnTo>
                <a:lnTo>
                  <a:pt x="443403" y="25839"/>
                </a:lnTo>
                <a:lnTo>
                  <a:pt x="457911" y="21533"/>
                </a:lnTo>
                <a:lnTo>
                  <a:pt x="472419" y="17906"/>
                </a:lnTo>
                <a:lnTo>
                  <a:pt x="486927" y="14506"/>
                </a:lnTo>
                <a:lnTo>
                  <a:pt x="501435" y="11560"/>
                </a:lnTo>
                <a:lnTo>
                  <a:pt x="515944" y="8840"/>
                </a:lnTo>
                <a:lnTo>
                  <a:pt x="530678" y="6573"/>
                </a:lnTo>
                <a:lnTo>
                  <a:pt x="545413" y="4533"/>
                </a:lnTo>
                <a:lnTo>
                  <a:pt x="560148" y="3173"/>
                </a:lnTo>
                <a:lnTo>
                  <a:pt x="575109" y="1587"/>
                </a:lnTo>
                <a:lnTo>
                  <a:pt x="589844" y="907"/>
                </a:lnTo>
                <a:lnTo>
                  <a:pt x="604806" y="227"/>
                </a:lnTo>
                <a:lnTo>
                  <a:pt x="61954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确拆解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可解释性局部解释之特征可解释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en-US" altLang="zh-CN" dirty="0" smtClean="0"/>
              <a:t>IV</a:t>
            </a:r>
            <a:endParaRPr lang="en-US" altLang="zh-CN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948055" y="150939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None/>
            </a:pPr>
            <a:r>
              <a:rPr lang="zh-CN" altLang="en-US" sz="1400" dirty="0" smtClean="0"/>
              <a:t>展示命中</a:t>
            </a:r>
            <a:r>
              <a:rPr lang="en-US" altLang="zh-CN" sz="1400" dirty="0" smtClean="0"/>
              <a:t>IV</a:t>
            </a:r>
            <a:r>
              <a:rPr lang="zh-CN" altLang="en-US" sz="1400" dirty="0" smtClean="0"/>
              <a:t>排在</a:t>
            </a:r>
            <a:r>
              <a:rPr lang="en-US" altLang="zh-CN" sz="1400" dirty="0" smtClean="0"/>
              <a:t>top</a:t>
            </a:r>
            <a:r>
              <a:rPr lang="zh-CN" altLang="en-US" sz="1400" dirty="0" smtClean="0"/>
              <a:t>的特征</a:t>
            </a:r>
            <a:endParaRPr lang="zh-CN" altLang="en-US" sz="1400" dirty="0" smtClean="0"/>
          </a:p>
        </p:txBody>
      </p:sp>
      <p:pic>
        <p:nvPicPr>
          <p:cNvPr id="102" name="图片 101"/>
          <p:cNvPicPr/>
          <p:nvPr/>
        </p:nvPicPr>
        <p:blipFill>
          <a:blip r:embed="rId1"/>
          <a:stretch>
            <a:fillRect/>
          </a:stretch>
        </p:blipFill>
        <p:spPr>
          <a:xfrm>
            <a:off x="1376680" y="1925955"/>
            <a:ext cx="9584690" cy="150685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3" name="矩形 2"/>
          <p:cNvSpPr/>
          <p:nvPr/>
        </p:nvSpPr>
        <p:spPr>
          <a:xfrm>
            <a:off x="3600450" y="5591290"/>
            <a:ext cx="325755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>
            <a:off x="5274945" y="4182110"/>
            <a:ext cx="323850" cy="1949450"/>
          </a:xfrm>
          <a:prstGeom prst="rect">
            <a:avLst/>
          </a:prstGeom>
          <a:solidFill>
            <a:srgbClr val="F05A23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327400" y="5171440"/>
            <a:ext cx="81470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0.039%</a:t>
            </a:r>
            <a:endParaRPr lang="en-US" alt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5029200" y="3695065"/>
            <a:ext cx="81470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1.375%</a:t>
            </a:r>
            <a:endParaRPr lang="en-US" alt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15" name="直接连接符 14"/>
          <p:cNvCxnSpPr/>
          <p:nvPr/>
        </p:nvCxnSpPr>
        <p:spPr>
          <a:xfrm>
            <a:off x="1391920" y="6132830"/>
            <a:ext cx="515239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/>
          <p:cNvSpPr txBox="1"/>
          <p:nvPr/>
        </p:nvSpPr>
        <p:spPr>
          <a:xfrm>
            <a:off x="2956560" y="6283960"/>
            <a:ext cx="1690370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无咨询试算退保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4723130" y="6283960"/>
            <a:ext cx="1604010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有咨询试算退保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1798320" y="5485765"/>
            <a:ext cx="325755" cy="647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23" name="文本框 22"/>
          <p:cNvSpPr txBox="1"/>
          <p:nvPr/>
        </p:nvSpPr>
        <p:spPr>
          <a:xfrm>
            <a:off x="1488440" y="6283960"/>
            <a:ext cx="92138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 algn="ctr">
              <a:buFont typeface="Arial" panose="020B060402020202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整体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1595120" y="5020310"/>
            <a:ext cx="81470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0.041%</a:t>
            </a:r>
            <a:endParaRPr lang="en-US" alt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26" name="直接连接符 25"/>
          <p:cNvCxnSpPr/>
          <p:nvPr/>
        </p:nvCxnSpPr>
        <p:spPr>
          <a:xfrm>
            <a:off x="2901315" y="4070350"/>
            <a:ext cx="0" cy="2070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文本框 26"/>
          <p:cNvSpPr txBox="1"/>
          <p:nvPr/>
        </p:nvSpPr>
        <p:spPr>
          <a:xfrm>
            <a:off x="6735445" y="3803015"/>
            <a:ext cx="4409440" cy="245237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如左侧示例：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有命中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“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有在咨询试算退保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”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的行为，投诉率为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1.375%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，比无此行为的投诉率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0.039%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高</a:t>
            </a:r>
            <a:r>
              <a:rPr lang="en-US" altLang="zh-CN" sz="1400" b="1" dirty="0" smtClean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35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倍，比整体投诉也高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33.5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倍。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如果模型预测一个客户投诉高风险，也命中了这个特征，可以有一定理由解释：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6871970" y="5891530"/>
            <a:ext cx="4149725" cy="363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ctr" anchorCtr="0" compatLnSpc="1"/>
          <a:p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这个客户</a:t>
            </a:r>
            <a:r>
              <a:rPr lang="zh-CN" altLang="en-US" sz="1400" b="1" dirty="0" smtClean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高风险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有一定程度是</a:t>
            </a:r>
            <a:r>
              <a:rPr lang="zh-CN" altLang="en-US" sz="1400" b="1" dirty="0" smtClean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因为命中了此特征</a:t>
            </a:r>
            <a:endParaRPr lang="zh-CN" altLang="en-US" sz="1400" b="1" dirty="0" smtClean="0">
              <a:latin typeface="华文楷体" panose="02010600040101010101" pitchFamily="2" charset="-122"/>
              <a:ea typeface="华文楷体" panose="02010600040101010101" pitchFamily="2" charset="-122"/>
              <a:sym typeface="+mn-ea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确拆解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可解释性局部解释之特征重要性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en-US" altLang="zh-CN" sz="1800" dirty="0" smtClean="0"/>
              <a:t>SHAP</a:t>
            </a:r>
            <a:r>
              <a:rPr lang="zh-CN" altLang="en-US" sz="1800" dirty="0" smtClean="0"/>
              <a:t>示例</a:t>
            </a:r>
            <a:endParaRPr lang="zh-CN" altLang="en-US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2588260" y="1489710"/>
            <a:ext cx="6096000" cy="163004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p>
            <a:pPr marL="106045" indent="0">
              <a:buNone/>
            </a:pPr>
            <a:r>
              <a:rPr lang="zh-CN" altLang="en-US" sz="1000" dirty="0" smtClean="0"/>
              <a:t>from sklearn.tree import DecisionTreeClassifier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from sklearn.model_selection import train_test_split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Xtrain,Xtest,ytrain,ytest=train_test_split(X,y,test_size=0.2,random_state=2024)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clf=DecisionTreeClassifier(criterion='gini',max_depth=3)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clff.fit(Xtrain,ytrain)</a:t>
            </a:r>
            <a:endParaRPr lang="zh-CN" altLang="en-US" sz="1000" dirty="0" smtClean="0"/>
          </a:p>
          <a:p>
            <a:pPr marL="106045" indent="0">
              <a:buNone/>
            </a:pP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import shap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explainer=shap.TreeExplainer(clf)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shapvalue=explainer.shap_values(Xtest)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shap.summary_plot(shapvalue,Xtest,plot_type='bar')</a:t>
            </a:r>
            <a:endParaRPr lang="zh-CN" altLang="en-US" sz="1000" dirty="0" smtClean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730500" y="3502660"/>
            <a:ext cx="6147435" cy="2403475"/>
          </a:xfrm>
          <a:prstGeom prst="rect">
            <a:avLst/>
          </a:prstGeom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确拆解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可解释性之模型可解释性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5232400" cy="36449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>
              <a:buNone/>
            </a:pPr>
            <a:r>
              <a:rPr lang="zh-CN" altLang="en-US" dirty="0" smtClean="0"/>
              <a:t>树模型输出（树模型）</a:t>
            </a:r>
            <a:r>
              <a:rPr lang="en-US" altLang="zh-CN" dirty="0" smtClean="0"/>
              <a:t>——</a:t>
            </a:r>
            <a:r>
              <a:rPr lang="zh-CN" altLang="en-US" dirty="0" smtClean="0">
                <a:sym typeface="+mn-ea"/>
              </a:rPr>
              <a:t>export_graphviz</a:t>
            </a:r>
            <a:endParaRPr lang="zh-CN" altLang="en-US" dirty="0" smtClean="0">
              <a:sym typeface="+mn-ea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1101725" y="1546860"/>
            <a:ext cx="6096000" cy="52197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dirty="0" smtClean="0"/>
              <a:t>from sklearn import tree</a:t>
            </a:r>
            <a:endParaRPr lang="zh-CN" altLang="en-US" sz="1400" dirty="0" smtClean="0"/>
          </a:p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dirty="0" smtClean="0"/>
              <a:t>tree.export_graphviz</a:t>
            </a:r>
            <a:r>
              <a:rPr lang="en-US" altLang="zh-CN" sz="1400" dirty="0" smtClean="0"/>
              <a:t>(GBDT.estimators_[i,j])</a:t>
            </a:r>
            <a:endParaRPr lang="en-US" altLang="zh-CN" sz="1400" dirty="0" smtClean="0"/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70660" y="2082165"/>
            <a:ext cx="9250680" cy="451929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确拆解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可解释性之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预测可解释性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sz="1800" dirty="0" smtClean="0"/>
              <a:t>模型简化</a:t>
            </a:r>
            <a:endParaRPr lang="zh-CN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938530" y="1556385"/>
            <a:ext cx="927862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0000"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sz="1800" dirty="0" smtClean="0"/>
              <a:t>用易理解的模型代替负责模型，如逻辑回归代理神经网络，线性回归代替树模型</a:t>
            </a:r>
            <a:endParaRPr lang="en-US" altLang="zh-CN" sz="1800" dirty="0" smtClean="0"/>
          </a:p>
        </p:txBody>
      </p:sp>
      <p:sp>
        <p:nvSpPr>
          <p:cNvPr id="3" name="文本框 2"/>
          <p:cNvSpPr txBox="1"/>
          <p:nvPr/>
        </p:nvSpPr>
        <p:spPr>
          <a:xfrm>
            <a:off x="938530" y="350393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sz="1800" dirty="0" smtClean="0"/>
              <a:t>逻辑回归</a:t>
            </a:r>
            <a:endParaRPr lang="zh-CN" sz="1800" dirty="0" smtClean="0"/>
          </a:p>
        </p:txBody>
      </p:sp>
      <p:sp>
        <p:nvSpPr>
          <p:cNvPr id="8" name="文本框 7"/>
          <p:cNvSpPr txBox="1"/>
          <p:nvPr/>
        </p:nvSpPr>
        <p:spPr>
          <a:xfrm>
            <a:off x="938530" y="207391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sz="1800" dirty="0" smtClean="0"/>
              <a:t>线性回归</a:t>
            </a:r>
            <a:endParaRPr lang="zh-CN" sz="1800" dirty="0" smtClean="0"/>
          </a:p>
        </p:txBody>
      </p:sp>
      <p:graphicFrame>
        <p:nvGraphicFramePr>
          <p:cNvPr id="13" name="对象 1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4591685" y="3951605"/>
          <a:ext cx="1624330" cy="6896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838200" imgH="355600" progId="Equation.KSEE3">
                  <p:embed/>
                </p:oleObj>
              </mc:Choice>
              <mc:Fallback>
                <p:oleObj name="" r:id="rId1" imgW="838200" imgH="3556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4591685" y="3951605"/>
                        <a:ext cx="1624330" cy="6896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对象 14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3641725" y="2661285"/>
          <a:ext cx="4466590" cy="5784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" r:id="rId3" imgW="1765300" imgH="228600" progId="Equation.KSEE3">
                  <p:embed/>
                </p:oleObj>
              </mc:Choice>
              <mc:Fallback>
                <p:oleObj name="" r:id="rId3" imgW="1765300" imgH="228600" progId="Equation.KSEE3">
                  <p:embed/>
                  <p:pic>
                    <p:nvPicPr>
                      <p:cNvPr id="0" name="图片 102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641725" y="2661285"/>
                        <a:ext cx="4466590" cy="5784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479425" y="2661920"/>
            <a:ext cx="11020425" cy="1278255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8000" dirty="0" smtClean="0">
                <a:solidFill>
                  <a:srgbClr val="F05A23"/>
                </a:solidFill>
              </a:rPr>
              <a:t>风控模型</a:t>
            </a:r>
            <a:r>
              <a:rPr lang="zh-CN" altLang="en-US" sz="4800" dirty="0" smtClean="0"/>
              <a:t>，让风险</a:t>
            </a:r>
            <a:r>
              <a:rPr lang="zh-CN" altLang="en-US" sz="8000" dirty="0" smtClean="0">
                <a:solidFill>
                  <a:srgbClr val="F05A23"/>
                </a:solidFill>
              </a:rPr>
              <a:t>无处遁形</a:t>
            </a:r>
            <a:endParaRPr lang="zh-CN" altLang="en-US" sz="8000" dirty="0" smtClean="0"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3088341" y="2967991"/>
            <a:ext cx="6015319" cy="92202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spAutoFit/>
          </a:bodyPr>
          <a:lstStyle/>
          <a:p>
            <a:pPr algn="ctr"/>
            <a:r>
              <a:rPr lang="zh-CN" altLang="en-US" sz="5400" b="1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谢    谢</a:t>
            </a:r>
            <a:r>
              <a:rPr lang="zh-CN" altLang="en-US" sz="5400" b="1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！</a:t>
            </a:r>
            <a:endParaRPr lang="zh-CN" altLang="en-US" sz="5400" b="1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矩形 42"/>
          <p:cNvSpPr/>
          <p:nvPr/>
        </p:nvSpPr>
        <p:spPr>
          <a:xfrm>
            <a:off x="938530" y="4195445"/>
            <a:ext cx="4638675" cy="192659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>
                <a:solidFill>
                  <a:prstClr val="black">
                    <a:lumMod val="85000"/>
                    <a:lumOff val="15000"/>
                  </a:prstClr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+mn-ea"/>
                <a:sym typeface="+mn-lt"/>
              </a:rPr>
              <a:t>解析趋势：风控识别方式的转型</a:t>
            </a:r>
            <a:endParaRPr lang="zh-CN" altLang="en-US" sz="2800" b="1">
              <a:solidFill>
                <a:prstClr val="black">
                  <a:lumMod val="85000"/>
                  <a:lumOff val="15000"/>
                </a:prstClr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n-ea"/>
              <a:sym typeface="+mn-lt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C913308-F349-4B6D-A68A-DD1791B4A57B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cxnSp>
        <p:nvCxnSpPr>
          <p:cNvPr id="216" name="直接连接符 215"/>
          <p:cNvCxnSpPr/>
          <p:nvPr/>
        </p:nvCxnSpPr>
        <p:spPr>
          <a:xfrm>
            <a:off x="494030" y="1351280"/>
            <a:ext cx="514477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圆角矩形 216"/>
          <p:cNvSpPr/>
          <p:nvPr/>
        </p:nvSpPr>
        <p:spPr>
          <a:xfrm>
            <a:off x="1000125" y="1153160"/>
            <a:ext cx="4168775" cy="377825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1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  <a:cs typeface="Times New Roman" panose="02020603050405020304" pitchFamily="18" charset="0"/>
              </a:rPr>
              <a:t>过去：专家规则主导</a:t>
            </a:r>
            <a:endParaRPr kumimoji="0" lang="zh-CN" altLang="en-US" b="1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cxnSp>
        <p:nvCxnSpPr>
          <p:cNvPr id="6" name="直接连接符 5"/>
          <p:cNvCxnSpPr/>
          <p:nvPr/>
        </p:nvCxnSpPr>
        <p:spPr>
          <a:xfrm>
            <a:off x="6392545" y="1351280"/>
            <a:ext cx="5222875" cy="0"/>
          </a:xfrm>
          <a:prstGeom prst="line">
            <a:avLst/>
          </a:prstGeom>
          <a:ln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圆角矩形 7"/>
          <p:cNvSpPr/>
          <p:nvPr/>
        </p:nvSpPr>
        <p:spPr>
          <a:xfrm>
            <a:off x="7001510" y="1153160"/>
            <a:ext cx="4168800" cy="37846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1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  <a:cs typeface="Times New Roman" panose="02020603050405020304" pitchFamily="18" charset="0"/>
              </a:rPr>
              <a:t>现在：风控模型引领</a:t>
            </a:r>
            <a:endParaRPr kumimoji="0" lang="zh-CN" altLang="en-US" b="1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8" name="sync-symbol_73424"/>
          <p:cNvSpPr>
            <a:spLocks noChangeAspect="1"/>
          </p:cNvSpPr>
          <p:nvPr/>
        </p:nvSpPr>
        <p:spPr bwMode="auto">
          <a:xfrm>
            <a:off x="903544" y="2123737"/>
            <a:ext cx="504724" cy="609685"/>
          </a:xfrm>
          <a:custGeom>
            <a:avLst/>
            <a:gdLst>
              <a:gd name="connsiteX0" fmla="*/ 404210 w 503090"/>
              <a:gd name="connsiteY0" fmla="*/ 172161 h 607710"/>
              <a:gd name="connsiteX1" fmla="*/ 398125 w 503090"/>
              <a:gd name="connsiteY1" fmla="*/ 175935 h 607710"/>
              <a:gd name="connsiteX2" fmla="*/ 401997 w 503090"/>
              <a:gd name="connsiteY2" fmla="*/ 182010 h 607710"/>
              <a:gd name="connsiteX3" fmla="*/ 444964 w 503090"/>
              <a:gd name="connsiteY3" fmla="*/ 191675 h 607710"/>
              <a:gd name="connsiteX4" fmla="*/ 446070 w 503090"/>
              <a:gd name="connsiteY4" fmla="*/ 191767 h 607710"/>
              <a:gd name="connsiteX5" fmla="*/ 451049 w 503090"/>
              <a:gd name="connsiteY5" fmla="*/ 187809 h 607710"/>
              <a:gd name="connsiteX6" fmla="*/ 447177 w 503090"/>
              <a:gd name="connsiteY6" fmla="*/ 181734 h 607710"/>
              <a:gd name="connsiteX7" fmla="*/ 394252 w 503090"/>
              <a:gd name="connsiteY7" fmla="*/ 138289 h 607710"/>
              <a:gd name="connsiteX8" fmla="*/ 388167 w 503090"/>
              <a:gd name="connsiteY8" fmla="*/ 142155 h 607710"/>
              <a:gd name="connsiteX9" fmla="*/ 392039 w 503090"/>
              <a:gd name="connsiteY9" fmla="*/ 148137 h 607710"/>
              <a:gd name="connsiteX10" fmla="*/ 468475 w 503090"/>
              <a:gd name="connsiteY10" fmla="*/ 165350 h 607710"/>
              <a:gd name="connsiteX11" fmla="*/ 469582 w 503090"/>
              <a:gd name="connsiteY11" fmla="*/ 165442 h 607710"/>
              <a:gd name="connsiteX12" fmla="*/ 474561 w 503090"/>
              <a:gd name="connsiteY12" fmla="*/ 161484 h 607710"/>
              <a:gd name="connsiteX13" fmla="*/ 470688 w 503090"/>
              <a:gd name="connsiteY13" fmla="*/ 155409 h 607710"/>
              <a:gd name="connsiteX14" fmla="*/ 388997 w 503090"/>
              <a:gd name="connsiteY14" fmla="*/ 97697 h 607710"/>
              <a:gd name="connsiteX15" fmla="*/ 410296 w 503090"/>
              <a:gd name="connsiteY15" fmla="*/ 102483 h 607710"/>
              <a:gd name="connsiteX16" fmla="*/ 409281 w 503090"/>
              <a:gd name="connsiteY16" fmla="*/ 107086 h 607710"/>
              <a:gd name="connsiteX17" fmla="*/ 419700 w 503090"/>
              <a:gd name="connsiteY17" fmla="*/ 123654 h 607710"/>
              <a:gd name="connsiteX18" fmla="*/ 452616 w 503090"/>
              <a:gd name="connsiteY18" fmla="*/ 131017 h 607710"/>
              <a:gd name="connsiteX19" fmla="*/ 470411 w 503090"/>
              <a:gd name="connsiteY19" fmla="*/ 120708 h 607710"/>
              <a:gd name="connsiteX20" fmla="*/ 471426 w 503090"/>
              <a:gd name="connsiteY20" fmla="*/ 116106 h 607710"/>
              <a:gd name="connsiteX21" fmla="*/ 492817 w 503090"/>
              <a:gd name="connsiteY21" fmla="*/ 120892 h 607710"/>
              <a:gd name="connsiteX22" fmla="*/ 501115 w 503090"/>
              <a:gd name="connsiteY22" fmla="*/ 126691 h 607710"/>
              <a:gd name="connsiteX23" fmla="*/ 502774 w 503090"/>
              <a:gd name="connsiteY23" fmla="*/ 136632 h 607710"/>
              <a:gd name="connsiteX24" fmla="*/ 469213 w 503090"/>
              <a:gd name="connsiteY24" fmla="*/ 285929 h 607710"/>
              <a:gd name="connsiteX25" fmla="*/ 453446 w 503090"/>
              <a:gd name="connsiteY25" fmla="*/ 295869 h 607710"/>
              <a:gd name="connsiteX26" fmla="*/ 411494 w 503090"/>
              <a:gd name="connsiteY26" fmla="*/ 286481 h 607710"/>
              <a:gd name="connsiteX27" fmla="*/ 428736 w 503090"/>
              <a:gd name="connsiteY27" fmla="*/ 219104 h 607710"/>
              <a:gd name="connsiteX28" fmla="*/ 359584 w 503090"/>
              <a:gd name="connsiteY28" fmla="*/ 199498 h 607710"/>
              <a:gd name="connsiteX29" fmla="*/ 351655 w 503090"/>
              <a:gd name="connsiteY29" fmla="*/ 203917 h 607710"/>
              <a:gd name="connsiteX30" fmla="*/ 373322 w 503090"/>
              <a:gd name="connsiteY30" fmla="*/ 107546 h 607710"/>
              <a:gd name="connsiteX31" fmla="*/ 388997 w 503090"/>
              <a:gd name="connsiteY31" fmla="*/ 97697 h 607710"/>
              <a:gd name="connsiteX32" fmla="*/ 427054 w 503090"/>
              <a:gd name="connsiteY32" fmla="*/ 87148 h 607710"/>
              <a:gd name="connsiteX33" fmla="*/ 427884 w 503090"/>
              <a:gd name="connsiteY33" fmla="*/ 87240 h 607710"/>
              <a:gd name="connsiteX34" fmla="*/ 461971 w 503090"/>
              <a:gd name="connsiteY34" fmla="*/ 94892 h 607710"/>
              <a:gd name="connsiteX35" fmla="*/ 464827 w 503090"/>
              <a:gd name="connsiteY35" fmla="*/ 99317 h 607710"/>
              <a:gd name="connsiteX36" fmla="*/ 460404 w 503090"/>
              <a:gd name="connsiteY36" fmla="*/ 118585 h 607710"/>
              <a:gd name="connsiteX37" fmla="*/ 458838 w 503090"/>
              <a:gd name="connsiteY37" fmla="*/ 120890 h 607710"/>
              <a:gd name="connsiteX38" fmla="*/ 456904 w 503090"/>
              <a:gd name="connsiteY38" fmla="*/ 121443 h 607710"/>
              <a:gd name="connsiteX39" fmla="*/ 456074 w 503090"/>
              <a:gd name="connsiteY39" fmla="*/ 121351 h 607710"/>
              <a:gd name="connsiteX40" fmla="*/ 421895 w 503090"/>
              <a:gd name="connsiteY40" fmla="*/ 113699 h 607710"/>
              <a:gd name="connsiteX41" fmla="*/ 419132 w 503090"/>
              <a:gd name="connsiteY41" fmla="*/ 109274 h 607710"/>
              <a:gd name="connsiteX42" fmla="*/ 423462 w 503090"/>
              <a:gd name="connsiteY42" fmla="*/ 90098 h 607710"/>
              <a:gd name="connsiteX43" fmla="*/ 427054 w 503090"/>
              <a:gd name="connsiteY43" fmla="*/ 87148 h 607710"/>
              <a:gd name="connsiteX44" fmla="*/ 39020 w 503090"/>
              <a:gd name="connsiteY44" fmla="*/ 50484 h 607710"/>
              <a:gd name="connsiteX45" fmla="*/ 57224 w 503090"/>
              <a:gd name="connsiteY45" fmla="*/ 65108 h 607710"/>
              <a:gd name="connsiteX46" fmla="*/ 88655 w 503090"/>
              <a:gd name="connsiteY46" fmla="*/ 122267 h 607710"/>
              <a:gd name="connsiteX47" fmla="*/ 161103 w 503090"/>
              <a:gd name="connsiteY47" fmla="*/ 155404 h 607710"/>
              <a:gd name="connsiteX48" fmla="*/ 253736 w 503090"/>
              <a:gd name="connsiteY48" fmla="*/ 155404 h 607710"/>
              <a:gd name="connsiteX49" fmla="*/ 296136 w 503090"/>
              <a:gd name="connsiteY49" fmla="*/ 177678 h 607710"/>
              <a:gd name="connsiteX50" fmla="*/ 336138 w 503090"/>
              <a:gd name="connsiteY50" fmla="*/ 235850 h 607710"/>
              <a:gd name="connsiteX51" fmla="*/ 369413 w 503090"/>
              <a:gd name="connsiteY51" fmla="*/ 217257 h 607710"/>
              <a:gd name="connsiteX52" fmla="*/ 410890 w 503090"/>
              <a:gd name="connsiteY52" fmla="*/ 228947 h 607710"/>
              <a:gd name="connsiteX53" fmla="*/ 399184 w 503090"/>
              <a:gd name="connsiteY53" fmla="*/ 270367 h 607710"/>
              <a:gd name="connsiteX54" fmla="*/ 341577 w 503090"/>
              <a:gd name="connsiteY54" fmla="*/ 302491 h 607710"/>
              <a:gd name="connsiteX55" fmla="*/ 326737 w 503090"/>
              <a:gd name="connsiteY55" fmla="*/ 306356 h 607710"/>
              <a:gd name="connsiteX56" fmla="*/ 301574 w 503090"/>
              <a:gd name="connsiteY56" fmla="*/ 293194 h 607710"/>
              <a:gd name="connsiteX57" fmla="*/ 283416 w 503090"/>
              <a:gd name="connsiteY57" fmla="*/ 266777 h 607710"/>
              <a:gd name="connsiteX58" fmla="*/ 283416 w 503090"/>
              <a:gd name="connsiteY58" fmla="*/ 576875 h 607710"/>
              <a:gd name="connsiteX59" fmla="*/ 252630 w 503090"/>
              <a:gd name="connsiteY59" fmla="*/ 607710 h 607710"/>
              <a:gd name="connsiteX60" fmla="*/ 221752 w 503090"/>
              <a:gd name="connsiteY60" fmla="*/ 576875 h 607710"/>
              <a:gd name="connsiteX61" fmla="*/ 221752 w 503090"/>
              <a:gd name="connsiteY61" fmla="*/ 392786 h 607710"/>
              <a:gd name="connsiteX62" fmla="*/ 197419 w 503090"/>
              <a:gd name="connsiteY62" fmla="*/ 392786 h 607710"/>
              <a:gd name="connsiteX63" fmla="*/ 197419 w 503090"/>
              <a:gd name="connsiteY63" fmla="*/ 576875 h 607710"/>
              <a:gd name="connsiteX64" fmla="*/ 166541 w 503090"/>
              <a:gd name="connsiteY64" fmla="*/ 607710 h 607710"/>
              <a:gd name="connsiteX65" fmla="*/ 135663 w 503090"/>
              <a:gd name="connsiteY65" fmla="*/ 576875 h 607710"/>
              <a:gd name="connsiteX66" fmla="*/ 135663 w 503090"/>
              <a:gd name="connsiteY66" fmla="*/ 210722 h 607710"/>
              <a:gd name="connsiteX67" fmla="*/ 53998 w 503090"/>
              <a:gd name="connsiteY67" fmla="*/ 173352 h 607710"/>
              <a:gd name="connsiteX68" fmla="*/ 39988 w 503090"/>
              <a:gd name="connsiteY68" fmla="*/ 160374 h 607710"/>
              <a:gd name="connsiteX69" fmla="*/ 3764 w 503090"/>
              <a:gd name="connsiteY69" fmla="*/ 94378 h 607710"/>
              <a:gd name="connsiteX70" fmla="*/ 15839 w 503090"/>
              <a:gd name="connsiteY70" fmla="*/ 53050 h 607710"/>
              <a:gd name="connsiteX71" fmla="*/ 39020 w 503090"/>
              <a:gd name="connsiteY71" fmla="*/ 50484 h 607710"/>
              <a:gd name="connsiteX72" fmla="*/ 209572 w 503090"/>
              <a:gd name="connsiteY72" fmla="*/ 0 h 607710"/>
              <a:gd name="connsiteX73" fmla="*/ 276715 w 503090"/>
              <a:gd name="connsiteY73" fmla="*/ 67073 h 607710"/>
              <a:gd name="connsiteX74" fmla="*/ 209572 w 503090"/>
              <a:gd name="connsiteY74" fmla="*/ 134146 h 607710"/>
              <a:gd name="connsiteX75" fmla="*/ 142429 w 503090"/>
              <a:gd name="connsiteY75" fmla="*/ 67073 h 607710"/>
              <a:gd name="connsiteX76" fmla="*/ 209572 w 503090"/>
              <a:gd name="connsiteY76" fmla="*/ 0 h 60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03090" h="607710">
                <a:moveTo>
                  <a:pt x="404210" y="172161"/>
                </a:moveTo>
                <a:cubicBezTo>
                  <a:pt x="401352" y="171517"/>
                  <a:pt x="398770" y="173266"/>
                  <a:pt x="398125" y="175935"/>
                </a:cubicBezTo>
                <a:cubicBezTo>
                  <a:pt x="397479" y="178696"/>
                  <a:pt x="399231" y="181458"/>
                  <a:pt x="401997" y="182010"/>
                </a:cubicBezTo>
                <a:lnTo>
                  <a:pt x="444964" y="191675"/>
                </a:lnTo>
                <a:cubicBezTo>
                  <a:pt x="445332" y="191767"/>
                  <a:pt x="445701" y="191767"/>
                  <a:pt x="446070" y="191767"/>
                </a:cubicBezTo>
                <a:cubicBezTo>
                  <a:pt x="448375" y="191767"/>
                  <a:pt x="450496" y="190202"/>
                  <a:pt x="451049" y="187809"/>
                </a:cubicBezTo>
                <a:cubicBezTo>
                  <a:pt x="451602" y="185139"/>
                  <a:pt x="449943" y="182378"/>
                  <a:pt x="447177" y="181734"/>
                </a:cubicBezTo>
                <a:close/>
                <a:moveTo>
                  <a:pt x="394252" y="138289"/>
                </a:moveTo>
                <a:cubicBezTo>
                  <a:pt x="391394" y="137644"/>
                  <a:pt x="388812" y="139393"/>
                  <a:pt x="388167" y="142155"/>
                </a:cubicBezTo>
                <a:cubicBezTo>
                  <a:pt x="387522" y="144824"/>
                  <a:pt x="389273" y="147585"/>
                  <a:pt x="392039" y="148137"/>
                </a:cubicBezTo>
                <a:lnTo>
                  <a:pt x="468475" y="165350"/>
                </a:lnTo>
                <a:cubicBezTo>
                  <a:pt x="468844" y="165442"/>
                  <a:pt x="469213" y="165442"/>
                  <a:pt x="469582" y="165442"/>
                </a:cubicBezTo>
                <a:cubicBezTo>
                  <a:pt x="471887" y="165442"/>
                  <a:pt x="474007" y="163877"/>
                  <a:pt x="474561" y="161484"/>
                </a:cubicBezTo>
                <a:cubicBezTo>
                  <a:pt x="475114" y="158723"/>
                  <a:pt x="473454" y="156053"/>
                  <a:pt x="470688" y="155409"/>
                </a:cubicBezTo>
                <a:close/>
                <a:moveTo>
                  <a:pt x="388997" y="97697"/>
                </a:moveTo>
                <a:lnTo>
                  <a:pt x="410296" y="102483"/>
                </a:lnTo>
                <a:lnTo>
                  <a:pt x="409281" y="107086"/>
                </a:lnTo>
                <a:cubicBezTo>
                  <a:pt x="407622" y="114541"/>
                  <a:pt x="412324" y="121905"/>
                  <a:pt x="419700" y="123654"/>
                </a:cubicBezTo>
                <a:cubicBezTo>
                  <a:pt x="419700" y="123654"/>
                  <a:pt x="443120" y="129084"/>
                  <a:pt x="452616" y="131017"/>
                </a:cubicBezTo>
                <a:cubicBezTo>
                  <a:pt x="465433" y="133594"/>
                  <a:pt x="469674" y="124298"/>
                  <a:pt x="470411" y="120708"/>
                </a:cubicBezTo>
                <a:lnTo>
                  <a:pt x="471426" y="116106"/>
                </a:lnTo>
                <a:lnTo>
                  <a:pt x="492817" y="120892"/>
                </a:lnTo>
                <a:cubicBezTo>
                  <a:pt x="496228" y="121721"/>
                  <a:pt x="499179" y="123746"/>
                  <a:pt x="501115" y="126691"/>
                </a:cubicBezTo>
                <a:cubicBezTo>
                  <a:pt x="502959" y="129636"/>
                  <a:pt x="503512" y="133226"/>
                  <a:pt x="502774" y="136632"/>
                </a:cubicBezTo>
                <a:lnTo>
                  <a:pt x="469213" y="285929"/>
                </a:lnTo>
                <a:cubicBezTo>
                  <a:pt x="467553" y="293016"/>
                  <a:pt x="460546" y="297434"/>
                  <a:pt x="453446" y="295869"/>
                </a:cubicBezTo>
                <a:lnTo>
                  <a:pt x="411494" y="286481"/>
                </a:lnTo>
                <a:cubicBezTo>
                  <a:pt x="434084" y="272122"/>
                  <a:pt x="441921" y="242667"/>
                  <a:pt x="428736" y="219104"/>
                </a:cubicBezTo>
                <a:cubicBezTo>
                  <a:pt x="414998" y="194620"/>
                  <a:pt x="384018" y="185876"/>
                  <a:pt x="359584" y="199498"/>
                </a:cubicBezTo>
                <a:lnTo>
                  <a:pt x="351655" y="203917"/>
                </a:lnTo>
                <a:lnTo>
                  <a:pt x="373322" y="107546"/>
                </a:lnTo>
                <a:cubicBezTo>
                  <a:pt x="374890" y="100550"/>
                  <a:pt x="381897" y="96040"/>
                  <a:pt x="388997" y="97697"/>
                </a:cubicBezTo>
                <a:close/>
                <a:moveTo>
                  <a:pt x="427054" y="87148"/>
                </a:moveTo>
                <a:cubicBezTo>
                  <a:pt x="427331" y="87148"/>
                  <a:pt x="427607" y="87240"/>
                  <a:pt x="427884" y="87240"/>
                </a:cubicBezTo>
                <a:lnTo>
                  <a:pt x="461971" y="94892"/>
                </a:lnTo>
                <a:cubicBezTo>
                  <a:pt x="463997" y="95353"/>
                  <a:pt x="465195" y="97381"/>
                  <a:pt x="464827" y="99317"/>
                </a:cubicBezTo>
                <a:lnTo>
                  <a:pt x="460404" y="118585"/>
                </a:lnTo>
                <a:cubicBezTo>
                  <a:pt x="460220" y="119599"/>
                  <a:pt x="459667" y="120429"/>
                  <a:pt x="458838" y="120890"/>
                </a:cubicBezTo>
                <a:cubicBezTo>
                  <a:pt x="458286" y="121259"/>
                  <a:pt x="457549" y="121443"/>
                  <a:pt x="456904" y="121443"/>
                </a:cubicBezTo>
                <a:cubicBezTo>
                  <a:pt x="456627" y="121443"/>
                  <a:pt x="456351" y="121443"/>
                  <a:pt x="456074" y="121351"/>
                </a:cubicBezTo>
                <a:lnTo>
                  <a:pt x="421895" y="113699"/>
                </a:lnTo>
                <a:cubicBezTo>
                  <a:pt x="419961" y="113238"/>
                  <a:pt x="418763" y="111302"/>
                  <a:pt x="419132" y="109274"/>
                </a:cubicBezTo>
                <a:lnTo>
                  <a:pt x="423462" y="90098"/>
                </a:lnTo>
                <a:cubicBezTo>
                  <a:pt x="423922" y="88347"/>
                  <a:pt x="425396" y="87148"/>
                  <a:pt x="427054" y="87148"/>
                </a:cubicBezTo>
                <a:close/>
                <a:moveTo>
                  <a:pt x="39020" y="50484"/>
                </a:moveTo>
                <a:cubicBezTo>
                  <a:pt x="46509" y="52659"/>
                  <a:pt x="53169" y="57698"/>
                  <a:pt x="57224" y="65108"/>
                </a:cubicBezTo>
                <a:lnTo>
                  <a:pt x="88655" y="122267"/>
                </a:lnTo>
                <a:lnTo>
                  <a:pt x="161103" y="155404"/>
                </a:lnTo>
                <a:lnTo>
                  <a:pt x="253736" y="155404"/>
                </a:lnTo>
                <a:cubicBezTo>
                  <a:pt x="270696" y="155404"/>
                  <a:pt x="286550" y="163688"/>
                  <a:pt x="296136" y="177678"/>
                </a:cubicBezTo>
                <a:lnTo>
                  <a:pt x="336138" y="235850"/>
                </a:lnTo>
                <a:lnTo>
                  <a:pt x="369413" y="217257"/>
                </a:lnTo>
                <a:cubicBezTo>
                  <a:pt x="384160" y="209065"/>
                  <a:pt x="402687" y="214312"/>
                  <a:pt x="410890" y="228947"/>
                </a:cubicBezTo>
                <a:cubicBezTo>
                  <a:pt x="419186" y="243674"/>
                  <a:pt x="413840" y="262175"/>
                  <a:pt x="399184" y="270367"/>
                </a:cubicBezTo>
                <a:lnTo>
                  <a:pt x="341577" y="302491"/>
                </a:lnTo>
                <a:cubicBezTo>
                  <a:pt x="336876" y="305160"/>
                  <a:pt x="331806" y="306356"/>
                  <a:pt x="326737" y="306356"/>
                </a:cubicBezTo>
                <a:cubicBezTo>
                  <a:pt x="316967" y="306356"/>
                  <a:pt x="307473" y="301754"/>
                  <a:pt x="301574" y="293194"/>
                </a:cubicBezTo>
                <a:lnTo>
                  <a:pt x="283416" y="266777"/>
                </a:lnTo>
                <a:lnTo>
                  <a:pt x="283416" y="576875"/>
                </a:lnTo>
                <a:cubicBezTo>
                  <a:pt x="283416" y="593903"/>
                  <a:pt x="269590" y="607710"/>
                  <a:pt x="252630" y="607710"/>
                </a:cubicBezTo>
                <a:cubicBezTo>
                  <a:pt x="235578" y="607710"/>
                  <a:pt x="221752" y="593903"/>
                  <a:pt x="221752" y="576875"/>
                </a:cubicBezTo>
                <a:lnTo>
                  <a:pt x="221752" y="392786"/>
                </a:lnTo>
                <a:lnTo>
                  <a:pt x="197419" y="392786"/>
                </a:lnTo>
                <a:lnTo>
                  <a:pt x="197419" y="576875"/>
                </a:lnTo>
                <a:cubicBezTo>
                  <a:pt x="197419" y="593903"/>
                  <a:pt x="183593" y="607710"/>
                  <a:pt x="166541" y="607710"/>
                </a:cubicBezTo>
                <a:cubicBezTo>
                  <a:pt x="149489" y="607710"/>
                  <a:pt x="135663" y="593903"/>
                  <a:pt x="135663" y="576875"/>
                </a:cubicBezTo>
                <a:lnTo>
                  <a:pt x="135663" y="210722"/>
                </a:lnTo>
                <a:lnTo>
                  <a:pt x="53998" y="173352"/>
                </a:lnTo>
                <a:cubicBezTo>
                  <a:pt x="48099" y="170683"/>
                  <a:pt x="43122" y="166081"/>
                  <a:pt x="39988" y="160374"/>
                </a:cubicBezTo>
                <a:lnTo>
                  <a:pt x="3764" y="94378"/>
                </a:lnTo>
                <a:cubicBezTo>
                  <a:pt x="-4347" y="79651"/>
                  <a:pt x="1091" y="61150"/>
                  <a:pt x="15839" y="53050"/>
                </a:cubicBezTo>
                <a:cubicBezTo>
                  <a:pt x="23213" y="49000"/>
                  <a:pt x="31531" y="48310"/>
                  <a:pt x="39020" y="50484"/>
                </a:cubicBezTo>
                <a:close/>
                <a:moveTo>
                  <a:pt x="209572" y="0"/>
                </a:moveTo>
                <a:cubicBezTo>
                  <a:pt x="246654" y="0"/>
                  <a:pt x="276715" y="30030"/>
                  <a:pt x="276715" y="67073"/>
                </a:cubicBezTo>
                <a:cubicBezTo>
                  <a:pt x="276715" y="104116"/>
                  <a:pt x="246654" y="134146"/>
                  <a:pt x="209572" y="134146"/>
                </a:cubicBezTo>
                <a:cubicBezTo>
                  <a:pt x="172490" y="134146"/>
                  <a:pt x="142429" y="104116"/>
                  <a:pt x="142429" y="67073"/>
                </a:cubicBezTo>
                <a:cubicBezTo>
                  <a:pt x="142429" y="30030"/>
                  <a:pt x="172490" y="0"/>
                  <a:pt x="2095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591820" y="2865120"/>
            <a:ext cx="1033145" cy="27749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200" dirty="0" smtClean="0"/>
              <a:t>场景</a:t>
            </a:r>
            <a:endParaRPr lang="en-US" altLang="zh-CN" sz="1200" dirty="0" smtClean="0"/>
          </a:p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200" dirty="0" smtClean="0"/>
              <a:t>业务请求</a:t>
            </a:r>
            <a:endParaRPr lang="zh-CN" altLang="en-US" sz="1200" dirty="0" smtClean="0"/>
          </a:p>
        </p:txBody>
      </p:sp>
      <p:sp>
        <p:nvSpPr>
          <p:cNvPr id="7" name="矩形 6"/>
          <p:cNvSpPr/>
          <p:nvPr/>
        </p:nvSpPr>
        <p:spPr>
          <a:xfrm>
            <a:off x="2266950" y="1780540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专家规则</a:t>
            </a:r>
            <a:r>
              <a:rPr lang="en-US" altLang="zh-CN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1</a:t>
            </a:r>
            <a:endParaRPr lang="en-US" altLang="zh-CN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2266950" y="2191385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专家规则</a:t>
            </a:r>
            <a:r>
              <a:rPr lang="en-US" altLang="zh-CN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2</a:t>
            </a:r>
            <a:endParaRPr lang="en-US" altLang="zh-CN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266950" y="2602230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en-US" altLang="zh-CN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...</a:t>
            </a:r>
            <a:endParaRPr lang="en-US" altLang="zh-CN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266950" y="3013075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专家规则</a:t>
            </a:r>
            <a:r>
              <a:rPr lang="en-US" altLang="zh-CN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n</a:t>
            </a:r>
            <a:endParaRPr lang="en-US" altLang="zh-CN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3972560" y="2380615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风险决策</a:t>
            </a:r>
            <a:endParaRPr lang="zh-CN" altLang="en-US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173605" y="1703070"/>
            <a:ext cx="1131570" cy="1677670"/>
          </a:xfrm>
          <a:prstGeom prst="rect">
            <a:avLst/>
          </a:prstGeom>
          <a:noFill/>
          <a:ln w="0">
            <a:solidFill>
              <a:schemeClr val="bg1">
                <a:lumMod val="6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cxnSp>
        <p:nvCxnSpPr>
          <p:cNvPr id="14" name="直接箭头连接符 13"/>
          <p:cNvCxnSpPr/>
          <p:nvPr/>
        </p:nvCxnSpPr>
        <p:spPr>
          <a:xfrm>
            <a:off x="1588770" y="2541905"/>
            <a:ext cx="34544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/>
          <p:nvPr/>
        </p:nvCxnSpPr>
        <p:spPr>
          <a:xfrm>
            <a:off x="3385185" y="2541905"/>
            <a:ext cx="34544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ync-symbol_73424"/>
          <p:cNvSpPr>
            <a:spLocks noChangeAspect="1"/>
          </p:cNvSpPr>
          <p:nvPr/>
        </p:nvSpPr>
        <p:spPr bwMode="auto">
          <a:xfrm>
            <a:off x="7249734" y="2165012"/>
            <a:ext cx="504724" cy="609685"/>
          </a:xfrm>
          <a:custGeom>
            <a:avLst/>
            <a:gdLst>
              <a:gd name="connsiteX0" fmla="*/ 404210 w 503090"/>
              <a:gd name="connsiteY0" fmla="*/ 172161 h 607710"/>
              <a:gd name="connsiteX1" fmla="*/ 398125 w 503090"/>
              <a:gd name="connsiteY1" fmla="*/ 175935 h 607710"/>
              <a:gd name="connsiteX2" fmla="*/ 401997 w 503090"/>
              <a:gd name="connsiteY2" fmla="*/ 182010 h 607710"/>
              <a:gd name="connsiteX3" fmla="*/ 444964 w 503090"/>
              <a:gd name="connsiteY3" fmla="*/ 191675 h 607710"/>
              <a:gd name="connsiteX4" fmla="*/ 446070 w 503090"/>
              <a:gd name="connsiteY4" fmla="*/ 191767 h 607710"/>
              <a:gd name="connsiteX5" fmla="*/ 451049 w 503090"/>
              <a:gd name="connsiteY5" fmla="*/ 187809 h 607710"/>
              <a:gd name="connsiteX6" fmla="*/ 447177 w 503090"/>
              <a:gd name="connsiteY6" fmla="*/ 181734 h 607710"/>
              <a:gd name="connsiteX7" fmla="*/ 394252 w 503090"/>
              <a:gd name="connsiteY7" fmla="*/ 138289 h 607710"/>
              <a:gd name="connsiteX8" fmla="*/ 388167 w 503090"/>
              <a:gd name="connsiteY8" fmla="*/ 142155 h 607710"/>
              <a:gd name="connsiteX9" fmla="*/ 392039 w 503090"/>
              <a:gd name="connsiteY9" fmla="*/ 148137 h 607710"/>
              <a:gd name="connsiteX10" fmla="*/ 468475 w 503090"/>
              <a:gd name="connsiteY10" fmla="*/ 165350 h 607710"/>
              <a:gd name="connsiteX11" fmla="*/ 469582 w 503090"/>
              <a:gd name="connsiteY11" fmla="*/ 165442 h 607710"/>
              <a:gd name="connsiteX12" fmla="*/ 474561 w 503090"/>
              <a:gd name="connsiteY12" fmla="*/ 161484 h 607710"/>
              <a:gd name="connsiteX13" fmla="*/ 470688 w 503090"/>
              <a:gd name="connsiteY13" fmla="*/ 155409 h 607710"/>
              <a:gd name="connsiteX14" fmla="*/ 388997 w 503090"/>
              <a:gd name="connsiteY14" fmla="*/ 97697 h 607710"/>
              <a:gd name="connsiteX15" fmla="*/ 410296 w 503090"/>
              <a:gd name="connsiteY15" fmla="*/ 102483 h 607710"/>
              <a:gd name="connsiteX16" fmla="*/ 409281 w 503090"/>
              <a:gd name="connsiteY16" fmla="*/ 107086 h 607710"/>
              <a:gd name="connsiteX17" fmla="*/ 419700 w 503090"/>
              <a:gd name="connsiteY17" fmla="*/ 123654 h 607710"/>
              <a:gd name="connsiteX18" fmla="*/ 452616 w 503090"/>
              <a:gd name="connsiteY18" fmla="*/ 131017 h 607710"/>
              <a:gd name="connsiteX19" fmla="*/ 470411 w 503090"/>
              <a:gd name="connsiteY19" fmla="*/ 120708 h 607710"/>
              <a:gd name="connsiteX20" fmla="*/ 471426 w 503090"/>
              <a:gd name="connsiteY20" fmla="*/ 116106 h 607710"/>
              <a:gd name="connsiteX21" fmla="*/ 492817 w 503090"/>
              <a:gd name="connsiteY21" fmla="*/ 120892 h 607710"/>
              <a:gd name="connsiteX22" fmla="*/ 501115 w 503090"/>
              <a:gd name="connsiteY22" fmla="*/ 126691 h 607710"/>
              <a:gd name="connsiteX23" fmla="*/ 502774 w 503090"/>
              <a:gd name="connsiteY23" fmla="*/ 136632 h 607710"/>
              <a:gd name="connsiteX24" fmla="*/ 469213 w 503090"/>
              <a:gd name="connsiteY24" fmla="*/ 285929 h 607710"/>
              <a:gd name="connsiteX25" fmla="*/ 453446 w 503090"/>
              <a:gd name="connsiteY25" fmla="*/ 295869 h 607710"/>
              <a:gd name="connsiteX26" fmla="*/ 411494 w 503090"/>
              <a:gd name="connsiteY26" fmla="*/ 286481 h 607710"/>
              <a:gd name="connsiteX27" fmla="*/ 428736 w 503090"/>
              <a:gd name="connsiteY27" fmla="*/ 219104 h 607710"/>
              <a:gd name="connsiteX28" fmla="*/ 359584 w 503090"/>
              <a:gd name="connsiteY28" fmla="*/ 199498 h 607710"/>
              <a:gd name="connsiteX29" fmla="*/ 351655 w 503090"/>
              <a:gd name="connsiteY29" fmla="*/ 203917 h 607710"/>
              <a:gd name="connsiteX30" fmla="*/ 373322 w 503090"/>
              <a:gd name="connsiteY30" fmla="*/ 107546 h 607710"/>
              <a:gd name="connsiteX31" fmla="*/ 388997 w 503090"/>
              <a:gd name="connsiteY31" fmla="*/ 97697 h 607710"/>
              <a:gd name="connsiteX32" fmla="*/ 427054 w 503090"/>
              <a:gd name="connsiteY32" fmla="*/ 87148 h 607710"/>
              <a:gd name="connsiteX33" fmla="*/ 427884 w 503090"/>
              <a:gd name="connsiteY33" fmla="*/ 87240 h 607710"/>
              <a:gd name="connsiteX34" fmla="*/ 461971 w 503090"/>
              <a:gd name="connsiteY34" fmla="*/ 94892 h 607710"/>
              <a:gd name="connsiteX35" fmla="*/ 464827 w 503090"/>
              <a:gd name="connsiteY35" fmla="*/ 99317 h 607710"/>
              <a:gd name="connsiteX36" fmla="*/ 460404 w 503090"/>
              <a:gd name="connsiteY36" fmla="*/ 118585 h 607710"/>
              <a:gd name="connsiteX37" fmla="*/ 458838 w 503090"/>
              <a:gd name="connsiteY37" fmla="*/ 120890 h 607710"/>
              <a:gd name="connsiteX38" fmla="*/ 456904 w 503090"/>
              <a:gd name="connsiteY38" fmla="*/ 121443 h 607710"/>
              <a:gd name="connsiteX39" fmla="*/ 456074 w 503090"/>
              <a:gd name="connsiteY39" fmla="*/ 121351 h 607710"/>
              <a:gd name="connsiteX40" fmla="*/ 421895 w 503090"/>
              <a:gd name="connsiteY40" fmla="*/ 113699 h 607710"/>
              <a:gd name="connsiteX41" fmla="*/ 419132 w 503090"/>
              <a:gd name="connsiteY41" fmla="*/ 109274 h 607710"/>
              <a:gd name="connsiteX42" fmla="*/ 423462 w 503090"/>
              <a:gd name="connsiteY42" fmla="*/ 90098 h 607710"/>
              <a:gd name="connsiteX43" fmla="*/ 427054 w 503090"/>
              <a:gd name="connsiteY43" fmla="*/ 87148 h 607710"/>
              <a:gd name="connsiteX44" fmla="*/ 39020 w 503090"/>
              <a:gd name="connsiteY44" fmla="*/ 50484 h 607710"/>
              <a:gd name="connsiteX45" fmla="*/ 57224 w 503090"/>
              <a:gd name="connsiteY45" fmla="*/ 65108 h 607710"/>
              <a:gd name="connsiteX46" fmla="*/ 88655 w 503090"/>
              <a:gd name="connsiteY46" fmla="*/ 122267 h 607710"/>
              <a:gd name="connsiteX47" fmla="*/ 161103 w 503090"/>
              <a:gd name="connsiteY47" fmla="*/ 155404 h 607710"/>
              <a:gd name="connsiteX48" fmla="*/ 253736 w 503090"/>
              <a:gd name="connsiteY48" fmla="*/ 155404 h 607710"/>
              <a:gd name="connsiteX49" fmla="*/ 296136 w 503090"/>
              <a:gd name="connsiteY49" fmla="*/ 177678 h 607710"/>
              <a:gd name="connsiteX50" fmla="*/ 336138 w 503090"/>
              <a:gd name="connsiteY50" fmla="*/ 235850 h 607710"/>
              <a:gd name="connsiteX51" fmla="*/ 369413 w 503090"/>
              <a:gd name="connsiteY51" fmla="*/ 217257 h 607710"/>
              <a:gd name="connsiteX52" fmla="*/ 410890 w 503090"/>
              <a:gd name="connsiteY52" fmla="*/ 228947 h 607710"/>
              <a:gd name="connsiteX53" fmla="*/ 399184 w 503090"/>
              <a:gd name="connsiteY53" fmla="*/ 270367 h 607710"/>
              <a:gd name="connsiteX54" fmla="*/ 341577 w 503090"/>
              <a:gd name="connsiteY54" fmla="*/ 302491 h 607710"/>
              <a:gd name="connsiteX55" fmla="*/ 326737 w 503090"/>
              <a:gd name="connsiteY55" fmla="*/ 306356 h 607710"/>
              <a:gd name="connsiteX56" fmla="*/ 301574 w 503090"/>
              <a:gd name="connsiteY56" fmla="*/ 293194 h 607710"/>
              <a:gd name="connsiteX57" fmla="*/ 283416 w 503090"/>
              <a:gd name="connsiteY57" fmla="*/ 266777 h 607710"/>
              <a:gd name="connsiteX58" fmla="*/ 283416 w 503090"/>
              <a:gd name="connsiteY58" fmla="*/ 576875 h 607710"/>
              <a:gd name="connsiteX59" fmla="*/ 252630 w 503090"/>
              <a:gd name="connsiteY59" fmla="*/ 607710 h 607710"/>
              <a:gd name="connsiteX60" fmla="*/ 221752 w 503090"/>
              <a:gd name="connsiteY60" fmla="*/ 576875 h 607710"/>
              <a:gd name="connsiteX61" fmla="*/ 221752 w 503090"/>
              <a:gd name="connsiteY61" fmla="*/ 392786 h 607710"/>
              <a:gd name="connsiteX62" fmla="*/ 197419 w 503090"/>
              <a:gd name="connsiteY62" fmla="*/ 392786 h 607710"/>
              <a:gd name="connsiteX63" fmla="*/ 197419 w 503090"/>
              <a:gd name="connsiteY63" fmla="*/ 576875 h 607710"/>
              <a:gd name="connsiteX64" fmla="*/ 166541 w 503090"/>
              <a:gd name="connsiteY64" fmla="*/ 607710 h 607710"/>
              <a:gd name="connsiteX65" fmla="*/ 135663 w 503090"/>
              <a:gd name="connsiteY65" fmla="*/ 576875 h 607710"/>
              <a:gd name="connsiteX66" fmla="*/ 135663 w 503090"/>
              <a:gd name="connsiteY66" fmla="*/ 210722 h 607710"/>
              <a:gd name="connsiteX67" fmla="*/ 53998 w 503090"/>
              <a:gd name="connsiteY67" fmla="*/ 173352 h 607710"/>
              <a:gd name="connsiteX68" fmla="*/ 39988 w 503090"/>
              <a:gd name="connsiteY68" fmla="*/ 160374 h 607710"/>
              <a:gd name="connsiteX69" fmla="*/ 3764 w 503090"/>
              <a:gd name="connsiteY69" fmla="*/ 94378 h 607710"/>
              <a:gd name="connsiteX70" fmla="*/ 15839 w 503090"/>
              <a:gd name="connsiteY70" fmla="*/ 53050 h 607710"/>
              <a:gd name="connsiteX71" fmla="*/ 39020 w 503090"/>
              <a:gd name="connsiteY71" fmla="*/ 50484 h 607710"/>
              <a:gd name="connsiteX72" fmla="*/ 209572 w 503090"/>
              <a:gd name="connsiteY72" fmla="*/ 0 h 607710"/>
              <a:gd name="connsiteX73" fmla="*/ 276715 w 503090"/>
              <a:gd name="connsiteY73" fmla="*/ 67073 h 607710"/>
              <a:gd name="connsiteX74" fmla="*/ 209572 w 503090"/>
              <a:gd name="connsiteY74" fmla="*/ 134146 h 607710"/>
              <a:gd name="connsiteX75" fmla="*/ 142429 w 503090"/>
              <a:gd name="connsiteY75" fmla="*/ 67073 h 607710"/>
              <a:gd name="connsiteX76" fmla="*/ 209572 w 503090"/>
              <a:gd name="connsiteY76" fmla="*/ 0 h 60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03090" h="607710">
                <a:moveTo>
                  <a:pt x="404210" y="172161"/>
                </a:moveTo>
                <a:cubicBezTo>
                  <a:pt x="401352" y="171517"/>
                  <a:pt x="398770" y="173266"/>
                  <a:pt x="398125" y="175935"/>
                </a:cubicBezTo>
                <a:cubicBezTo>
                  <a:pt x="397479" y="178696"/>
                  <a:pt x="399231" y="181458"/>
                  <a:pt x="401997" y="182010"/>
                </a:cubicBezTo>
                <a:lnTo>
                  <a:pt x="444964" y="191675"/>
                </a:lnTo>
                <a:cubicBezTo>
                  <a:pt x="445332" y="191767"/>
                  <a:pt x="445701" y="191767"/>
                  <a:pt x="446070" y="191767"/>
                </a:cubicBezTo>
                <a:cubicBezTo>
                  <a:pt x="448375" y="191767"/>
                  <a:pt x="450496" y="190202"/>
                  <a:pt x="451049" y="187809"/>
                </a:cubicBezTo>
                <a:cubicBezTo>
                  <a:pt x="451602" y="185139"/>
                  <a:pt x="449943" y="182378"/>
                  <a:pt x="447177" y="181734"/>
                </a:cubicBezTo>
                <a:close/>
                <a:moveTo>
                  <a:pt x="394252" y="138289"/>
                </a:moveTo>
                <a:cubicBezTo>
                  <a:pt x="391394" y="137644"/>
                  <a:pt x="388812" y="139393"/>
                  <a:pt x="388167" y="142155"/>
                </a:cubicBezTo>
                <a:cubicBezTo>
                  <a:pt x="387522" y="144824"/>
                  <a:pt x="389273" y="147585"/>
                  <a:pt x="392039" y="148137"/>
                </a:cubicBezTo>
                <a:lnTo>
                  <a:pt x="468475" y="165350"/>
                </a:lnTo>
                <a:cubicBezTo>
                  <a:pt x="468844" y="165442"/>
                  <a:pt x="469213" y="165442"/>
                  <a:pt x="469582" y="165442"/>
                </a:cubicBezTo>
                <a:cubicBezTo>
                  <a:pt x="471887" y="165442"/>
                  <a:pt x="474007" y="163877"/>
                  <a:pt x="474561" y="161484"/>
                </a:cubicBezTo>
                <a:cubicBezTo>
                  <a:pt x="475114" y="158723"/>
                  <a:pt x="473454" y="156053"/>
                  <a:pt x="470688" y="155409"/>
                </a:cubicBezTo>
                <a:close/>
                <a:moveTo>
                  <a:pt x="388997" y="97697"/>
                </a:moveTo>
                <a:lnTo>
                  <a:pt x="410296" y="102483"/>
                </a:lnTo>
                <a:lnTo>
                  <a:pt x="409281" y="107086"/>
                </a:lnTo>
                <a:cubicBezTo>
                  <a:pt x="407622" y="114541"/>
                  <a:pt x="412324" y="121905"/>
                  <a:pt x="419700" y="123654"/>
                </a:cubicBezTo>
                <a:cubicBezTo>
                  <a:pt x="419700" y="123654"/>
                  <a:pt x="443120" y="129084"/>
                  <a:pt x="452616" y="131017"/>
                </a:cubicBezTo>
                <a:cubicBezTo>
                  <a:pt x="465433" y="133594"/>
                  <a:pt x="469674" y="124298"/>
                  <a:pt x="470411" y="120708"/>
                </a:cubicBezTo>
                <a:lnTo>
                  <a:pt x="471426" y="116106"/>
                </a:lnTo>
                <a:lnTo>
                  <a:pt x="492817" y="120892"/>
                </a:lnTo>
                <a:cubicBezTo>
                  <a:pt x="496228" y="121721"/>
                  <a:pt x="499179" y="123746"/>
                  <a:pt x="501115" y="126691"/>
                </a:cubicBezTo>
                <a:cubicBezTo>
                  <a:pt x="502959" y="129636"/>
                  <a:pt x="503512" y="133226"/>
                  <a:pt x="502774" y="136632"/>
                </a:cubicBezTo>
                <a:lnTo>
                  <a:pt x="469213" y="285929"/>
                </a:lnTo>
                <a:cubicBezTo>
                  <a:pt x="467553" y="293016"/>
                  <a:pt x="460546" y="297434"/>
                  <a:pt x="453446" y="295869"/>
                </a:cubicBezTo>
                <a:lnTo>
                  <a:pt x="411494" y="286481"/>
                </a:lnTo>
                <a:cubicBezTo>
                  <a:pt x="434084" y="272122"/>
                  <a:pt x="441921" y="242667"/>
                  <a:pt x="428736" y="219104"/>
                </a:cubicBezTo>
                <a:cubicBezTo>
                  <a:pt x="414998" y="194620"/>
                  <a:pt x="384018" y="185876"/>
                  <a:pt x="359584" y="199498"/>
                </a:cubicBezTo>
                <a:lnTo>
                  <a:pt x="351655" y="203917"/>
                </a:lnTo>
                <a:lnTo>
                  <a:pt x="373322" y="107546"/>
                </a:lnTo>
                <a:cubicBezTo>
                  <a:pt x="374890" y="100550"/>
                  <a:pt x="381897" y="96040"/>
                  <a:pt x="388997" y="97697"/>
                </a:cubicBezTo>
                <a:close/>
                <a:moveTo>
                  <a:pt x="427054" y="87148"/>
                </a:moveTo>
                <a:cubicBezTo>
                  <a:pt x="427331" y="87148"/>
                  <a:pt x="427607" y="87240"/>
                  <a:pt x="427884" y="87240"/>
                </a:cubicBezTo>
                <a:lnTo>
                  <a:pt x="461971" y="94892"/>
                </a:lnTo>
                <a:cubicBezTo>
                  <a:pt x="463997" y="95353"/>
                  <a:pt x="465195" y="97381"/>
                  <a:pt x="464827" y="99317"/>
                </a:cubicBezTo>
                <a:lnTo>
                  <a:pt x="460404" y="118585"/>
                </a:lnTo>
                <a:cubicBezTo>
                  <a:pt x="460220" y="119599"/>
                  <a:pt x="459667" y="120429"/>
                  <a:pt x="458838" y="120890"/>
                </a:cubicBezTo>
                <a:cubicBezTo>
                  <a:pt x="458286" y="121259"/>
                  <a:pt x="457549" y="121443"/>
                  <a:pt x="456904" y="121443"/>
                </a:cubicBezTo>
                <a:cubicBezTo>
                  <a:pt x="456627" y="121443"/>
                  <a:pt x="456351" y="121443"/>
                  <a:pt x="456074" y="121351"/>
                </a:cubicBezTo>
                <a:lnTo>
                  <a:pt x="421895" y="113699"/>
                </a:lnTo>
                <a:cubicBezTo>
                  <a:pt x="419961" y="113238"/>
                  <a:pt x="418763" y="111302"/>
                  <a:pt x="419132" y="109274"/>
                </a:cubicBezTo>
                <a:lnTo>
                  <a:pt x="423462" y="90098"/>
                </a:lnTo>
                <a:cubicBezTo>
                  <a:pt x="423922" y="88347"/>
                  <a:pt x="425396" y="87148"/>
                  <a:pt x="427054" y="87148"/>
                </a:cubicBezTo>
                <a:close/>
                <a:moveTo>
                  <a:pt x="39020" y="50484"/>
                </a:moveTo>
                <a:cubicBezTo>
                  <a:pt x="46509" y="52659"/>
                  <a:pt x="53169" y="57698"/>
                  <a:pt x="57224" y="65108"/>
                </a:cubicBezTo>
                <a:lnTo>
                  <a:pt x="88655" y="122267"/>
                </a:lnTo>
                <a:lnTo>
                  <a:pt x="161103" y="155404"/>
                </a:lnTo>
                <a:lnTo>
                  <a:pt x="253736" y="155404"/>
                </a:lnTo>
                <a:cubicBezTo>
                  <a:pt x="270696" y="155404"/>
                  <a:pt x="286550" y="163688"/>
                  <a:pt x="296136" y="177678"/>
                </a:cubicBezTo>
                <a:lnTo>
                  <a:pt x="336138" y="235850"/>
                </a:lnTo>
                <a:lnTo>
                  <a:pt x="369413" y="217257"/>
                </a:lnTo>
                <a:cubicBezTo>
                  <a:pt x="384160" y="209065"/>
                  <a:pt x="402687" y="214312"/>
                  <a:pt x="410890" y="228947"/>
                </a:cubicBezTo>
                <a:cubicBezTo>
                  <a:pt x="419186" y="243674"/>
                  <a:pt x="413840" y="262175"/>
                  <a:pt x="399184" y="270367"/>
                </a:cubicBezTo>
                <a:lnTo>
                  <a:pt x="341577" y="302491"/>
                </a:lnTo>
                <a:cubicBezTo>
                  <a:pt x="336876" y="305160"/>
                  <a:pt x="331806" y="306356"/>
                  <a:pt x="326737" y="306356"/>
                </a:cubicBezTo>
                <a:cubicBezTo>
                  <a:pt x="316967" y="306356"/>
                  <a:pt x="307473" y="301754"/>
                  <a:pt x="301574" y="293194"/>
                </a:cubicBezTo>
                <a:lnTo>
                  <a:pt x="283416" y="266777"/>
                </a:lnTo>
                <a:lnTo>
                  <a:pt x="283416" y="576875"/>
                </a:lnTo>
                <a:cubicBezTo>
                  <a:pt x="283416" y="593903"/>
                  <a:pt x="269590" y="607710"/>
                  <a:pt x="252630" y="607710"/>
                </a:cubicBezTo>
                <a:cubicBezTo>
                  <a:pt x="235578" y="607710"/>
                  <a:pt x="221752" y="593903"/>
                  <a:pt x="221752" y="576875"/>
                </a:cubicBezTo>
                <a:lnTo>
                  <a:pt x="221752" y="392786"/>
                </a:lnTo>
                <a:lnTo>
                  <a:pt x="197419" y="392786"/>
                </a:lnTo>
                <a:lnTo>
                  <a:pt x="197419" y="576875"/>
                </a:lnTo>
                <a:cubicBezTo>
                  <a:pt x="197419" y="593903"/>
                  <a:pt x="183593" y="607710"/>
                  <a:pt x="166541" y="607710"/>
                </a:cubicBezTo>
                <a:cubicBezTo>
                  <a:pt x="149489" y="607710"/>
                  <a:pt x="135663" y="593903"/>
                  <a:pt x="135663" y="576875"/>
                </a:cubicBezTo>
                <a:lnTo>
                  <a:pt x="135663" y="210722"/>
                </a:lnTo>
                <a:lnTo>
                  <a:pt x="53998" y="173352"/>
                </a:lnTo>
                <a:cubicBezTo>
                  <a:pt x="48099" y="170683"/>
                  <a:pt x="43122" y="166081"/>
                  <a:pt x="39988" y="160374"/>
                </a:cubicBezTo>
                <a:lnTo>
                  <a:pt x="3764" y="94378"/>
                </a:lnTo>
                <a:cubicBezTo>
                  <a:pt x="-4347" y="79651"/>
                  <a:pt x="1091" y="61150"/>
                  <a:pt x="15839" y="53050"/>
                </a:cubicBezTo>
                <a:cubicBezTo>
                  <a:pt x="23213" y="49000"/>
                  <a:pt x="31531" y="48310"/>
                  <a:pt x="39020" y="50484"/>
                </a:cubicBezTo>
                <a:close/>
                <a:moveTo>
                  <a:pt x="209572" y="0"/>
                </a:moveTo>
                <a:cubicBezTo>
                  <a:pt x="246654" y="0"/>
                  <a:pt x="276715" y="30030"/>
                  <a:pt x="276715" y="67073"/>
                </a:cubicBezTo>
                <a:cubicBezTo>
                  <a:pt x="276715" y="104116"/>
                  <a:pt x="246654" y="134146"/>
                  <a:pt x="209572" y="134146"/>
                </a:cubicBezTo>
                <a:cubicBezTo>
                  <a:pt x="172490" y="134146"/>
                  <a:pt x="142429" y="104116"/>
                  <a:pt x="142429" y="67073"/>
                </a:cubicBezTo>
                <a:cubicBezTo>
                  <a:pt x="142429" y="30030"/>
                  <a:pt x="172490" y="0"/>
                  <a:pt x="2095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27" name="文本框 26"/>
          <p:cNvSpPr txBox="1"/>
          <p:nvPr/>
        </p:nvSpPr>
        <p:spPr>
          <a:xfrm>
            <a:off x="6938010" y="2906395"/>
            <a:ext cx="1033145" cy="27749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200" dirty="0" smtClean="0"/>
              <a:t>场景</a:t>
            </a:r>
            <a:endParaRPr lang="en-US" altLang="zh-CN" sz="1200" dirty="0" smtClean="0"/>
          </a:p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200" dirty="0" smtClean="0"/>
              <a:t>业务请求</a:t>
            </a:r>
            <a:endParaRPr lang="zh-CN" altLang="en-US" sz="1200" dirty="0" smtClean="0"/>
          </a:p>
        </p:txBody>
      </p:sp>
      <p:sp>
        <p:nvSpPr>
          <p:cNvPr id="29" name="矩形 28"/>
          <p:cNvSpPr/>
          <p:nvPr/>
        </p:nvSpPr>
        <p:spPr>
          <a:xfrm>
            <a:off x="8727440" y="2421890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风控模型</a:t>
            </a:r>
            <a:endParaRPr lang="zh-CN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10318750" y="2421890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风险决策</a:t>
            </a:r>
            <a:endParaRPr lang="zh-CN" altLang="en-US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cxnSp>
        <p:nvCxnSpPr>
          <p:cNvPr id="35" name="直接箭头连接符 34"/>
          <p:cNvCxnSpPr/>
          <p:nvPr/>
        </p:nvCxnSpPr>
        <p:spPr>
          <a:xfrm>
            <a:off x="7934960" y="2583180"/>
            <a:ext cx="34544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/>
          <p:nvPr/>
        </p:nvCxnSpPr>
        <p:spPr>
          <a:xfrm>
            <a:off x="9731375" y="2583180"/>
            <a:ext cx="34544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文本框 36"/>
          <p:cNvSpPr txBox="1"/>
          <p:nvPr/>
        </p:nvSpPr>
        <p:spPr>
          <a:xfrm>
            <a:off x="1174750" y="3714750"/>
            <a:ext cx="1033145" cy="27749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400" dirty="0" smtClean="0"/>
              <a:t>特点：</a:t>
            </a:r>
            <a:endParaRPr lang="zh-CN" altLang="en-US" sz="1400" dirty="0" smtClean="0"/>
          </a:p>
        </p:txBody>
      </p:sp>
      <p:sp>
        <p:nvSpPr>
          <p:cNvPr id="38" name="文本框 37"/>
          <p:cNvSpPr txBox="1"/>
          <p:nvPr/>
        </p:nvSpPr>
        <p:spPr>
          <a:xfrm>
            <a:off x="1073150" y="4174490"/>
            <a:ext cx="4565015" cy="199136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391795" indent="-285750" algn="l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规则累加</a:t>
            </a:r>
            <a:r>
              <a:rPr lang="zh-CN" altLang="en-US" sz="1400" dirty="0" smtClean="0"/>
              <a:t>：上线简单，但随着时间推移，规则不断累加，形成庞大规则库，</a:t>
            </a:r>
            <a:r>
              <a:rPr lang="zh-CN" altLang="en-US" sz="1400" b="1" dirty="0" smtClean="0">
                <a:solidFill>
                  <a:srgbClr val="F05A23"/>
                </a:solidFill>
              </a:rPr>
              <a:t>维护困难</a:t>
            </a:r>
            <a:endParaRPr lang="zh-CN" altLang="en-US" sz="1400" dirty="0" smtClean="0"/>
          </a:p>
          <a:p>
            <a:pPr marL="391795" indent="-285750" algn="l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健壮性差</a:t>
            </a:r>
            <a:r>
              <a:rPr lang="zh-CN" altLang="en-US" sz="1400" dirty="0" smtClean="0"/>
              <a:t>：</a:t>
            </a:r>
            <a:r>
              <a:rPr lang="en-US" altLang="zh-CN" sz="1400" dirty="0" smtClean="0"/>
              <a:t>“</a:t>
            </a:r>
            <a:r>
              <a:rPr lang="zh-CN" altLang="en-US" sz="1400" dirty="0" smtClean="0"/>
              <a:t>坏人</a:t>
            </a:r>
            <a:r>
              <a:rPr lang="en-US" altLang="zh-CN" sz="1400" dirty="0" smtClean="0"/>
              <a:t>”</a:t>
            </a:r>
            <a:r>
              <a:rPr lang="zh-CN" altLang="en-US" sz="1400" dirty="0" smtClean="0"/>
              <a:t>容</a:t>
            </a:r>
            <a:r>
              <a:rPr lang="zh-CN" altLang="en-US" sz="1400" b="1" dirty="0" smtClean="0">
                <a:solidFill>
                  <a:srgbClr val="F05A23"/>
                </a:solidFill>
              </a:rPr>
              <a:t>易绕过</a:t>
            </a:r>
            <a:r>
              <a:rPr lang="zh-CN" altLang="en-US" sz="1400" dirty="0" smtClean="0"/>
              <a:t>规则</a:t>
            </a:r>
            <a:endParaRPr lang="zh-CN" altLang="en-US" sz="1400" dirty="0" smtClean="0"/>
          </a:p>
          <a:p>
            <a:pPr marL="391795" indent="-285750" algn="l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相对片面</a:t>
            </a:r>
            <a:r>
              <a:rPr lang="zh-CN" altLang="en-US" sz="1400" dirty="0" smtClean="0"/>
              <a:t>：规则是由若干个条件合成，判断风险相对</a:t>
            </a:r>
            <a:r>
              <a:rPr lang="zh-CN" altLang="en-US" sz="1400" b="1" dirty="0" smtClean="0">
                <a:solidFill>
                  <a:srgbClr val="F05A23"/>
                </a:solidFill>
              </a:rPr>
              <a:t>片面</a:t>
            </a:r>
            <a:endParaRPr lang="zh-CN" altLang="en-US" sz="1400" dirty="0" smtClean="0"/>
          </a:p>
          <a:p>
            <a:pPr marL="391795" indent="-285750" algn="l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适应性弱</a:t>
            </a:r>
            <a:r>
              <a:rPr lang="zh-CN" altLang="en-US" sz="1400" dirty="0" smtClean="0"/>
              <a:t>：更新速度</a:t>
            </a:r>
            <a:r>
              <a:rPr lang="zh-CN" altLang="en-US" sz="1400" b="1" dirty="0" smtClean="0">
                <a:solidFill>
                  <a:srgbClr val="F05A23"/>
                </a:solidFill>
              </a:rPr>
              <a:t>慢</a:t>
            </a:r>
            <a:endParaRPr lang="zh-CN" altLang="en-US" sz="1400" b="1" dirty="0" smtClean="0">
              <a:solidFill>
                <a:srgbClr val="F05A23"/>
              </a:solidFill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6871970" y="4225925"/>
            <a:ext cx="4650105" cy="18643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/>
          <a:p>
            <a:pPr marL="391795" indent="-285750" algn="l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自动化决策</a:t>
            </a:r>
            <a:r>
              <a:rPr lang="zh-CN" altLang="en-US" sz="1400" dirty="0" smtClean="0"/>
              <a:t>：判断方式更精炼，无需通过一条条规则判断，性能更优；同时无需维护庞大的规则库</a:t>
            </a:r>
            <a:endParaRPr lang="zh-CN" altLang="en-US" sz="1400" dirty="0" smtClean="0"/>
          </a:p>
          <a:p>
            <a:pPr marL="391795" indent="-285750" algn="l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模型更健壮</a:t>
            </a:r>
            <a:r>
              <a:rPr lang="zh-CN" altLang="en-US" sz="1400" dirty="0" smtClean="0"/>
              <a:t>：模型的结果非简单规则，</a:t>
            </a:r>
            <a:r>
              <a:rPr lang="en-US" altLang="zh-CN" sz="1400" dirty="0" smtClean="0"/>
              <a:t>“</a:t>
            </a:r>
            <a:r>
              <a:rPr lang="zh-CN" altLang="en-US" sz="1400" dirty="0" smtClean="0"/>
              <a:t>坏人</a:t>
            </a:r>
            <a:r>
              <a:rPr lang="en-US" altLang="zh-CN" sz="1400" dirty="0" smtClean="0"/>
              <a:t>”</a:t>
            </a:r>
            <a:r>
              <a:rPr lang="zh-CN" altLang="en-US" sz="1400" dirty="0" smtClean="0"/>
              <a:t>难绕过</a:t>
            </a:r>
            <a:endParaRPr lang="zh-CN" altLang="en-US" sz="1400" dirty="0" smtClean="0"/>
          </a:p>
          <a:p>
            <a:pPr marL="391795" indent="-285750" algn="l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结果更全面</a:t>
            </a:r>
            <a:r>
              <a:rPr lang="zh-CN" altLang="en-US" sz="1400" dirty="0" smtClean="0"/>
              <a:t>：模型综合了大量的特征，得到的结果，考虑更全面</a:t>
            </a:r>
            <a:endParaRPr lang="zh-CN" altLang="en-US" sz="1400" dirty="0" smtClean="0"/>
          </a:p>
        </p:txBody>
      </p:sp>
      <p:sp>
        <p:nvSpPr>
          <p:cNvPr id="41" name="矩形 40"/>
          <p:cNvSpPr/>
          <p:nvPr/>
        </p:nvSpPr>
        <p:spPr>
          <a:xfrm>
            <a:off x="468630" y="1636395"/>
            <a:ext cx="5204460" cy="4696460"/>
          </a:xfrm>
          <a:prstGeom prst="rect">
            <a:avLst/>
          </a:prstGeom>
          <a:noFill/>
          <a:ln w="0">
            <a:solidFill>
              <a:schemeClr val="bg1">
                <a:lumMod val="8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42" name="矩形 41"/>
          <p:cNvSpPr/>
          <p:nvPr/>
        </p:nvSpPr>
        <p:spPr>
          <a:xfrm>
            <a:off x="6410960" y="1617345"/>
            <a:ext cx="5204460" cy="4696460"/>
          </a:xfrm>
          <a:prstGeom prst="rect">
            <a:avLst/>
          </a:prstGeom>
          <a:noFill/>
          <a:ln w="0">
            <a:solidFill>
              <a:schemeClr val="bg1">
                <a:lumMod val="8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45" name="Freeform 11"/>
          <p:cNvSpPr>
            <a:spLocks noEditPoints="1"/>
          </p:cNvSpPr>
          <p:nvPr/>
        </p:nvSpPr>
        <p:spPr bwMode="auto">
          <a:xfrm>
            <a:off x="902970" y="3645535"/>
            <a:ext cx="381635" cy="422910"/>
          </a:xfrm>
          <a:custGeom>
            <a:avLst/>
            <a:gdLst>
              <a:gd name="T0" fmla="*/ 542 w 780"/>
              <a:gd name="T1" fmla="*/ 208 h 864"/>
              <a:gd name="T2" fmla="*/ 468 w 780"/>
              <a:gd name="T3" fmla="*/ 106 h 864"/>
              <a:gd name="T4" fmla="*/ 382 w 780"/>
              <a:gd name="T5" fmla="*/ 48 h 864"/>
              <a:gd name="T6" fmla="*/ 266 w 780"/>
              <a:gd name="T7" fmla="*/ 32 h 864"/>
              <a:gd name="T8" fmla="*/ 220 w 780"/>
              <a:gd name="T9" fmla="*/ 20 h 864"/>
              <a:gd name="T10" fmla="*/ 184 w 780"/>
              <a:gd name="T11" fmla="*/ 0 h 864"/>
              <a:gd name="T12" fmla="*/ 146 w 780"/>
              <a:gd name="T13" fmla="*/ 20 h 864"/>
              <a:gd name="T14" fmla="*/ 134 w 780"/>
              <a:gd name="T15" fmla="*/ 62 h 864"/>
              <a:gd name="T16" fmla="*/ 86 w 780"/>
              <a:gd name="T17" fmla="*/ 112 h 864"/>
              <a:gd name="T18" fmla="*/ 20 w 780"/>
              <a:gd name="T19" fmla="*/ 202 h 864"/>
              <a:gd name="T20" fmla="*/ 0 w 780"/>
              <a:gd name="T21" fmla="*/ 306 h 864"/>
              <a:gd name="T22" fmla="*/ 26 w 780"/>
              <a:gd name="T23" fmla="*/ 482 h 864"/>
              <a:gd name="T24" fmla="*/ 52 w 780"/>
              <a:gd name="T25" fmla="*/ 608 h 864"/>
              <a:gd name="T26" fmla="*/ 40 w 780"/>
              <a:gd name="T27" fmla="*/ 660 h 864"/>
              <a:gd name="T28" fmla="*/ 12 w 780"/>
              <a:gd name="T29" fmla="*/ 726 h 864"/>
              <a:gd name="T30" fmla="*/ 18 w 780"/>
              <a:gd name="T31" fmla="*/ 790 h 864"/>
              <a:gd name="T32" fmla="*/ 50 w 780"/>
              <a:gd name="T33" fmla="*/ 826 h 864"/>
              <a:gd name="T34" fmla="*/ 140 w 780"/>
              <a:gd name="T35" fmla="*/ 858 h 864"/>
              <a:gd name="T36" fmla="*/ 268 w 780"/>
              <a:gd name="T37" fmla="*/ 862 h 864"/>
              <a:gd name="T38" fmla="*/ 420 w 780"/>
              <a:gd name="T39" fmla="*/ 832 h 864"/>
              <a:gd name="T40" fmla="*/ 534 w 780"/>
              <a:gd name="T41" fmla="*/ 786 h 864"/>
              <a:gd name="T42" fmla="*/ 660 w 780"/>
              <a:gd name="T43" fmla="*/ 706 h 864"/>
              <a:gd name="T44" fmla="*/ 744 w 780"/>
              <a:gd name="T45" fmla="*/ 618 h 864"/>
              <a:gd name="T46" fmla="*/ 780 w 780"/>
              <a:gd name="T47" fmla="*/ 540 h 864"/>
              <a:gd name="T48" fmla="*/ 770 w 780"/>
              <a:gd name="T49" fmla="*/ 490 h 864"/>
              <a:gd name="T50" fmla="*/ 734 w 780"/>
              <a:gd name="T51" fmla="*/ 448 h 864"/>
              <a:gd name="T52" fmla="*/ 668 w 780"/>
              <a:gd name="T53" fmla="*/ 418 h 864"/>
              <a:gd name="T54" fmla="*/ 626 w 780"/>
              <a:gd name="T55" fmla="*/ 376 h 864"/>
              <a:gd name="T56" fmla="*/ 436 w 780"/>
              <a:gd name="T57" fmla="*/ 754 h 864"/>
              <a:gd name="T58" fmla="*/ 302 w 780"/>
              <a:gd name="T59" fmla="*/ 788 h 864"/>
              <a:gd name="T60" fmla="*/ 192 w 780"/>
              <a:gd name="T61" fmla="*/ 792 h 864"/>
              <a:gd name="T62" fmla="*/ 86 w 780"/>
              <a:gd name="T63" fmla="*/ 768 h 864"/>
              <a:gd name="T64" fmla="*/ 84 w 780"/>
              <a:gd name="T65" fmla="*/ 750 h 864"/>
              <a:gd name="T66" fmla="*/ 110 w 780"/>
              <a:gd name="T67" fmla="*/ 704 h 864"/>
              <a:gd name="T68" fmla="*/ 176 w 780"/>
              <a:gd name="T69" fmla="*/ 642 h 864"/>
              <a:gd name="T70" fmla="*/ 288 w 780"/>
              <a:gd name="T71" fmla="*/ 578 h 864"/>
              <a:gd name="T72" fmla="*/ 402 w 780"/>
              <a:gd name="T73" fmla="*/ 534 h 864"/>
              <a:gd name="T74" fmla="*/ 536 w 780"/>
              <a:gd name="T75" fmla="*/ 500 h 864"/>
              <a:gd name="T76" fmla="*/ 634 w 780"/>
              <a:gd name="T77" fmla="*/ 498 h 864"/>
              <a:gd name="T78" fmla="*/ 694 w 780"/>
              <a:gd name="T79" fmla="*/ 514 h 864"/>
              <a:gd name="T80" fmla="*/ 712 w 780"/>
              <a:gd name="T81" fmla="*/ 532 h 864"/>
              <a:gd name="T82" fmla="*/ 698 w 780"/>
              <a:gd name="T83" fmla="*/ 566 h 864"/>
              <a:gd name="T84" fmla="*/ 608 w 780"/>
              <a:gd name="T85" fmla="*/ 658 h 864"/>
              <a:gd name="T86" fmla="*/ 502 w 780"/>
              <a:gd name="T87" fmla="*/ 726 h 864"/>
              <a:gd name="T88" fmla="*/ 374 w 780"/>
              <a:gd name="T89" fmla="*/ 584 h 864"/>
              <a:gd name="T90" fmla="*/ 276 w 780"/>
              <a:gd name="T91" fmla="*/ 626 h 864"/>
              <a:gd name="T92" fmla="*/ 180 w 780"/>
              <a:gd name="T93" fmla="*/ 686 h 864"/>
              <a:gd name="T94" fmla="*/ 190 w 780"/>
              <a:gd name="T95" fmla="*/ 718 h 864"/>
              <a:gd name="T96" fmla="*/ 268 w 780"/>
              <a:gd name="T97" fmla="*/ 724 h 864"/>
              <a:gd name="T98" fmla="*/ 338 w 780"/>
              <a:gd name="T99" fmla="*/ 702 h 864"/>
              <a:gd name="T100" fmla="*/ 408 w 780"/>
              <a:gd name="T101" fmla="*/ 632 h 864"/>
              <a:gd name="T102" fmla="*/ 416 w 780"/>
              <a:gd name="T103" fmla="*/ 582 h 864"/>
              <a:gd name="T104" fmla="*/ 412 w 780"/>
              <a:gd name="T105" fmla="*/ 570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80" h="864">
                <a:moveTo>
                  <a:pt x="618" y="360"/>
                </a:moveTo>
                <a:lnTo>
                  <a:pt x="618" y="360"/>
                </a:lnTo>
                <a:lnTo>
                  <a:pt x="578" y="276"/>
                </a:lnTo>
                <a:lnTo>
                  <a:pt x="542" y="208"/>
                </a:lnTo>
                <a:lnTo>
                  <a:pt x="524" y="178"/>
                </a:lnTo>
                <a:lnTo>
                  <a:pt x="506" y="150"/>
                </a:lnTo>
                <a:lnTo>
                  <a:pt x="488" y="126"/>
                </a:lnTo>
                <a:lnTo>
                  <a:pt x="468" y="106"/>
                </a:lnTo>
                <a:lnTo>
                  <a:pt x="448" y="86"/>
                </a:lnTo>
                <a:lnTo>
                  <a:pt x="428" y="72"/>
                </a:lnTo>
                <a:lnTo>
                  <a:pt x="406" y="58"/>
                </a:lnTo>
                <a:lnTo>
                  <a:pt x="382" y="48"/>
                </a:lnTo>
                <a:lnTo>
                  <a:pt x="358" y="42"/>
                </a:lnTo>
                <a:lnTo>
                  <a:pt x="330" y="36"/>
                </a:lnTo>
                <a:lnTo>
                  <a:pt x="300" y="34"/>
                </a:lnTo>
                <a:lnTo>
                  <a:pt x="266" y="32"/>
                </a:lnTo>
                <a:lnTo>
                  <a:pt x="266" y="32"/>
                </a:lnTo>
                <a:lnTo>
                  <a:pt x="246" y="32"/>
                </a:lnTo>
                <a:lnTo>
                  <a:pt x="230" y="26"/>
                </a:lnTo>
                <a:lnTo>
                  <a:pt x="220" y="20"/>
                </a:lnTo>
                <a:lnTo>
                  <a:pt x="212" y="12"/>
                </a:lnTo>
                <a:lnTo>
                  <a:pt x="204" y="6"/>
                </a:lnTo>
                <a:lnTo>
                  <a:pt x="196" y="2"/>
                </a:lnTo>
                <a:lnTo>
                  <a:pt x="184" y="0"/>
                </a:lnTo>
                <a:lnTo>
                  <a:pt x="168" y="4"/>
                </a:lnTo>
                <a:lnTo>
                  <a:pt x="168" y="4"/>
                </a:lnTo>
                <a:lnTo>
                  <a:pt x="154" y="12"/>
                </a:lnTo>
                <a:lnTo>
                  <a:pt x="146" y="20"/>
                </a:lnTo>
                <a:lnTo>
                  <a:pt x="142" y="28"/>
                </a:lnTo>
                <a:lnTo>
                  <a:pt x="140" y="38"/>
                </a:lnTo>
                <a:lnTo>
                  <a:pt x="138" y="50"/>
                </a:lnTo>
                <a:lnTo>
                  <a:pt x="134" y="62"/>
                </a:lnTo>
                <a:lnTo>
                  <a:pt x="126" y="76"/>
                </a:lnTo>
                <a:lnTo>
                  <a:pt x="110" y="90"/>
                </a:lnTo>
                <a:lnTo>
                  <a:pt x="110" y="90"/>
                </a:lnTo>
                <a:lnTo>
                  <a:pt x="86" y="112"/>
                </a:lnTo>
                <a:lnTo>
                  <a:pt x="64" y="134"/>
                </a:lnTo>
                <a:lnTo>
                  <a:pt x="46" y="156"/>
                </a:lnTo>
                <a:lnTo>
                  <a:pt x="32" y="178"/>
                </a:lnTo>
                <a:lnTo>
                  <a:pt x="20" y="202"/>
                </a:lnTo>
                <a:lnTo>
                  <a:pt x="12" y="226"/>
                </a:lnTo>
                <a:lnTo>
                  <a:pt x="4" y="252"/>
                </a:lnTo>
                <a:lnTo>
                  <a:pt x="2" y="278"/>
                </a:lnTo>
                <a:lnTo>
                  <a:pt x="0" y="306"/>
                </a:lnTo>
                <a:lnTo>
                  <a:pt x="2" y="338"/>
                </a:lnTo>
                <a:lnTo>
                  <a:pt x="4" y="370"/>
                </a:lnTo>
                <a:lnTo>
                  <a:pt x="10" y="404"/>
                </a:lnTo>
                <a:lnTo>
                  <a:pt x="26" y="482"/>
                </a:lnTo>
                <a:lnTo>
                  <a:pt x="48" y="572"/>
                </a:lnTo>
                <a:lnTo>
                  <a:pt x="48" y="572"/>
                </a:lnTo>
                <a:lnTo>
                  <a:pt x="52" y="590"/>
                </a:lnTo>
                <a:lnTo>
                  <a:pt x="52" y="608"/>
                </a:lnTo>
                <a:lnTo>
                  <a:pt x="52" y="622"/>
                </a:lnTo>
                <a:lnTo>
                  <a:pt x="50" y="636"/>
                </a:lnTo>
                <a:lnTo>
                  <a:pt x="46" y="648"/>
                </a:lnTo>
                <a:lnTo>
                  <a:pt x="40" y="660"/>
                </a:lnTo>
                <a:lnTo>
                  <a:pt x="30" y="682"/>
                </a:lnTo>
                <a:lnTo>
                  <a:pt x="18" y="702"/>
                </a:lnTo>
                <a:lnTo>
                  <a:pt x="14" y="714"/>
                </a:lnTo>
                <a:lnTo>
                  <a:pt x="12" y="726"/>
                </a:lnTo>
                <a:lnTo>
                  <a:pt x="10" y="740"/>
                </a:lnTo>
                <a:lnTo>
                  <a:pt x="10" y="754"/>
                </a:lnTo>
                <a:lnTo>
                  <a:pt x="12" y="770"/>
                </a:lnTo>
                <a:lnTo>
                  <a:pt x="18" y="790"/>
                </a:lnTo>
                <a:lnTo>
                  <a:pt x="18" y="790"/>
                </a:lnTo>
                <a:lnTo>
                  <a:pt x="26" y="802"/>
                </a:lnTo>
                <a:lnTo>
                  <a:pt x="36" y="816"/>
                </a:lnTo>
                <a:lnTo>
                  <a:pt x="50" y="826"/>
                </a:lnTo>
                <a:lnTo>
                  <a:pt x="68" y="836"/>
                </a:lnTo>
                <a:lnTo>
                  <a:pt x="90" y="846"/>
                </a:lnTo>
                <a:lnTo>
                  <a:pt x="114" y="852"/>
                </a:lnTo>
                <a:lnTo>
                  <a:pt x="140" y="858"/>
                </a:lnTo>
                <a:lnTo>
                  <a:pt x="170" y="862"/>
                </a:lnTo>
                <a:lnTo>
                  <a:pt x="200" y="864"/>
                </a:lnTo>
                <a:lnTo>
                  <a:pt x="234" y="864"/>
                </a:lnTo>
                <a:lnTo>
                  <a:pt x="268" y="862"/>
                </a:lnTo>
                <a:lnTo>
                  <a:pt x="304" y="858"/>
                </a:lnTo>
                <a:lnTo>
                  <a:pt x="342" y="852"/>
                </a:lnTo>
                <a:lnTo>
                  <a:pt x="380" y="844"/>
                </a:lnTo>
                <a:lnTo>
                  <a:pt x="420" y="832"/>
                </a:lnTo>
                <a:lnTo>
                  <a:pt x="458" y="818"/>
                </a:lnTo>
                <a:lnTo>
                  <a:pt x="458" y="818"/>
                </a:lnTo>
                <a:lnTo>
                  <a:pt x="498" y="802"/>
                </a:lnTo>
                <a:lnTo>
                  <a:pt x="534" y="786"/>
                </a:lnTo>
                <a:lnTo>
                  <a:pt x="570" y="768"/>
                </a:lnTo>
                <a:lnTo>
                  <a:pt x="602" y="748"/>
                </a:lnTo>
                <a:lnTo>
                  <a:pt x="632" y="726"/>
                </a:lnTo>
                <a:lnTo>
                  <a:pt x="660" y="706"/>
                </a:lnTo>
                <a:lnTo>
                  <a:pt x="686" y="684"/>
                </a:lnTo>
                <a:lnTo>
                  <a:pt x="708" y="662"/>
                </a:lnTo>
                <a:lnTo>
                  <a:pt x="728" y="640"/>
                </a:lnTo>
                <a:lnTo>
                  <a:pt x="744" y="618"/>
                </a:lnTo>
                <a:lnTo>
                  <a:pt x="758" y="598"/>
                </a:lnTo>
                <a:lnTo>
                  <a:pt x="770" y="578"/>
                </a:lnTo>
                <a:lnTo>
                  <a:pt x="776" y="558"/>
                </a:lnTo>
                <a:lnTo>
                  <a:pt x="780" y="540"/>
                </a:lnTo>
                <a:lnTo>
                  <a:pt x="780" y="522"/>
                </a:lnTo>
                <a:lnTo>
                  <a:pt x="778" y="508"/>
                </a:lnTo>
                <a:lnTo>
                  <a:pt x="778" y="508"/>
                </a:lnTo>
                <a:lnTo>
                  <a:pt x="770" y="490"/>
                </a:lnTo>
                <a:lnTo>
                  <a:pt x="762" y="476"/>
                </a:lnTo>
                <a:lnTo>
                  <a:pt x="752" y="464"/>
                </a:lnTo>
                <a:lnTo>
                  <a:pt x="744" y="454"/>
                </a:lnTo>
                <a:lnTo>
                  <a:pt x="734" y="448"/>
                </a:lnTo>
                <a:lnTo>
                  <a:pt x="722" y="442"/>
                </a:lnTo>
                <a:lnTo>
                  <a:pt x="702" y="432"/>
                </a:lnTo>
                <a:lnTo>
                  <a:pt x="678" y="424"/>
                </a:lnTo>
                <a:lnTo>
                  <a:pt x="668" y="418"/>
                </a:lnTo>
                <a:lnTo>
                  <a:pt x="658" y="410"/>
                </a:lnTo>
                <a:lnTo>
                  <a:pt x="646" y="402"/>
                </a:lnTo>
                <a:lnTo>
                  <a:pt x="636" y="390"/>
                </a:lnTo>
                <a:lnTo>
                  <a:pt x="626" y="376"/>
                </a:lnTo>
                <a:lnTo>
                  <a:pt x="618" y="360"/>
                </a:lnTo>
                <a:lnTo>
                  <a:pt x="618" y="360"/>
                </a:lnTo>
                <a:close/>
                <a:moveTo>
                  <a:pt x="436" y="754"/>
                </a:moveTo>
                <a:lnTo>
                  <a:pt x="436" y="754"/>
                </a:lnTo>
                <a:lnTo>
                  <a:pt x="400" y="766"/>
                </a:lnTo>
                <a:lnTo>
                  <a:pt x="366" y="776"/>
                </a:lnTo>
                <a:lnTo>
                  <a:pt x="334" y="782"/>
                </a:lnTo>
                <a:lnTo>
                  <a:pt x="302" y="788"/>
                </a:lnTo>
                <a:lnTo>
                  <a:pt x="272" y="792"/>
                </a:lnTo>
                <a:lnTo>
                  <a:pt x="242" y="794"/>
                </a:lnTo>
                <a:lnTo>
                  <a:pt x="216" y="794"/>
                </a:lnTo>
                <a:lnTo>
                  <a:pt x="192" y="792"/>
                </a:lnTo>
                <a:lnTo>
                  <a:pt x="148" y="788"/>
                </a:lnTo>
                <a:lnTo>
                  <a:pt x="116" y="780"/>
                </a:lnTo>
                <a:lnTo>
                  <a:pt x="94" y="772"/>
                </a:lnTo>
                <a:lnTo>
                  <a:pt x="86" y="768"/>
                </a:lnTo>
                <a:lnTo>
                  <a:pt x="84" y="764"/>
                </a:lnTo>
                <a:lnTo>
                  <a:pt x="84" y="764"/>
                </a:lnTo>
                <a:lnTo>
                  <a:pt x="82" y="758"/>
                </a:lnTo>
                <a:lnTo>
                  <a:pt x="84" y="750"/>
                </a:lnTo>
                <a:lnTo>
                  <a:pt x="86" y="740"/>
                </a:lnTo>
                <a:lnTo>
                  <a:pt x="92" y="728"/>
                </a:lnTo>
                <a:lnTo>
                  <a:pt x="100" y="716"/>
                </a:lnTo>
                <a:lnTo>
                  <a:pt x="110" y="704"/>
                </a:lnTo>
                <a:lnTo>
                  <a:pt x="122" y="688"/>
                </a:lnTo>
                <a:lnTo>
                  <a:pt x="138" y="674"/>
                </a:lnTo>
                <a:lnTo>
                  <a:pt x="156" y="658"/>
                </a:lnTo>
                <a:lnTo>
                  <a:pt x="176" y="642"/>
                </a:lnTo>
                <a:lnTo>
                  <a:pt x="200" y="626"/>
                </a:lnTo>
                <a:lnTo>
                  <a:pt x="226" y="610"/>
                </a:lnTo>
                <a:lnTo>
                  <a:pt x="254" y="594"/>
                </a:lnTo>
                <a:lnTo>
                  <a:pt x="288" y="578"/>
                </a:lnTo>
                <a:lnTo>
                  <a:pt x="322" y="562"/>
                </a:lnTo>
                <a:lnTo>
                  <a:pt x="362" y="546"/>
                </a:lnTo>
                <a:lnTo>
                  <a:pt x="362" y="546"/>
                </a:lnTo>
                <a:lnTo>
                  <a:pt x="402" y="534"/>
                </a:lnTo>
                <a:lnTo>
                  <a:pt x="438" y="522"/>
                </a:lnTo>
                <a:lnTo>
                  <a:pt x="474" y="512"/>
                </a:lnTo>
                <a:lnTo>
                  <a:pt x="506" y="506"/>
                </a:lnTo>
                <a:lnTo>
                  <a:pt x="536" y="500"/>
                </a:lnTo>
                <a:lnTo>
                  <a:pt x="564" y="498"/>
                </a:lnTo>
                <a:lnTo>
                  <a:pt x="590" y="496"/>
                </a:lnTo>
                <a:lnTo>
                  <a:pt x="614" y="496"/>
                </a:lnTo>
                <a:lnTo>
                  <a:pt x="634" y="498"/>
                </a:lnTo>
                <a:lnTo>
                  <a:pt x="652" y="500"/>
                </a:lnTo>
                <a:lnTo>
                  <a:pt x="668" y="504"/>
                </a:lnTo>
                <a:lnTo>
                  <a:pt x="682" y="508"/>
                </a:lnTo>
                <a:lnTo>
                  <a:pt x="694" y="514"/>
                </a:lnTo>
                <a:lnTo>
                  <a:pt x="702" y="518"/>
                </a:lnTo>
                <a:lnTo>
                  <a:pt x="708" y="526"/>
                </a:lnTo>
                <a:lnTo>
                  <a:pt x="712" y="532"/>
                </a:lnTo>
                <a:lnTo>
                  <a:pt x="712" y="532"/>
                </a:lnTo>
                <a:lnTo>
                  <a:pt x="712" y="536"/>
                </a:lnTo>
                <a:lnTo>
                  <a:pt x="710" y="544"/>
                </a:lnTo>
                <a:lnTo>
                  <a:pt x="706" y="554"/>
                </a:lnTo>
                <a:lnTo>
                  <a:pt x="698" y="566"/>
                </a:lnTo>
                <a:lnTo>
                  <a:pt x="678" y="592"/>
                </a:lnTo>
                <a:lnTo>
                  <a:pt x="648" y="624"/>
                </a:lnTo>
                <a:lnTo>
                  <a:pt x="630" y="642"/>
                </a:lnTo>
                <a:lnTo>
                  <a:pt x="608" y="658"/>
                </a:lnTo>
                <a:lnTo>
                  <a:pt x="586" y="676"/>
                </a:lnTo>
                <a:lnTo>
                  <a:pt x="560" y="692"/>
                </a:lnTo>
                <a:lnTo>
                  <a:pt x="532" y="710"/>
                </a:lnTo>
                <a:lnTo>
                  <a:pt x="502" y="726"/>
                </a:lnTo>
                <a:lnTo>
                  <a:pt x="470" y="740"/>
                </a:lnTo>
                <a:lnTo>
                  <a:pt x="436" y="754"/>
                </a:lnTo>
                <a:lnTo>
                  <a:pt x="436" y="754"/>
                </a:lnTo>
                <a:close/>
                <a:moveTo>
                  <a:pt x="374" y="584"/>
                </a:moveTo>
                <a:lnTo>
                  <a:pt x="374" y="584"/>
                </a:lnTo>
                <a:lnTo>
                  <a:pt x="340" y="598"/>
                </a:lnTo>
                <a:lnTo>
                  <a:pt x="306" y="612"/>
                </a:lnTo>
                <a:lnTo>
                  <a:pt x="276" y="626"/>
                </a:lnTo>
                <a:lnTo>
                  <a:pt x="248" y="642"/>
                </a:lnTo>
                <a:lnTo>
                  <a:pt x="224" y="656"/>
                </a:lnTo>
                <a:lnTo>
                  <a:pt x="200" y="672"/>
                </a:lnTo>
                <a:lnTo>
                  <a:pt x="180" y="686"/>
                </a:lnTo>
                <a:lnTo>
                  <a:pt x="162" y="700"/>
                </a:lnTo>
                <a:lnTo>
                  <a:pt x="162" y="700"/>
                </a:lnTo>
                <a:lnTo>
                  <a:pt x="176" y="710"/>
                </a:lnTo>
                <a:lnTo>
                  <a:pt x="190" y="718"/>
                </a:lnTo>
                <a:lnTo>
                  <a:pt x="208" y="722"/>
                </a:lnTo>
                <a:lnTo>
                  <a:pt x="226" y="726"/>
                </a:lnTo>
                <a:lnTo>
                  <a:pt x="246" y="726"/>
                </a:lnTo>
                <a:lnTo>
                  <a:pt x="268" y="724"/>
                </a:lnTo>
                <a:lnTo>
                  <a:pt x="290" y="720"/>
                </a:lnTo>
                <a:lnTo>
                  <a:pt x="312" y="714"/>
                </a:lnTo>
                <a:lnTo>
                  <a:pt x="312" y="714"/>
                </a:lnTo>
                <a:lnTo>
                  <a:pt x="338" y="702"/>
                </a:lnTo>
                <a:lnTo>
                  <a:pt x="362" y="688"/>
                </a:lnTo>
                <a:lnTo>
                  <a:pt x="380" y="670"/>
                </a:lnTo>
                <a:lnTo>
                  <a:pt x="396" y="652"/>
                </a:lnTo>
                <a:lnTo>
                  <a:pt x="408" y="632"/>
                </a:lnTo>
                <a:lnTo>
                  <a:pt x="416" y="612"/>
                </a:lnTo>
                <a:lnTo>
                  <a:pt x="416" y="602"/>
                </a:lnTo>
                <a:lnTo>
                  <a:pt x="418" y="592"/>
                </a:lnTo>
                <a:lnTo>
                  <a:pt x="416" y="582"/>
                </a:lnTo>
                <a:lnTo>
                  <a:pt x="414" y="572"/>
                </a:lnTo>
                <a:lnTo>
                  <a:pt x="414" y="572"/>
                </a:lnTo>
                <a:lnTo>
                  <a:pt x="412" y="570"/>
                </a:lnTo>
                <a:lnTo>
                  <a:pt x="412" y="570"/>
                </a:lnTo>
                <a:lnTo>
                  <a:pt x="374" y="584"/>
                </a:lnTo>
                <a:lnTo>
                  <a:pt x="374" y="5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en-US" dirty="0"/>
          </a:p>
        </p:txBody>
      </p:sp>
      <p:sp>
        <p:nvSpPr>
          <p:cNvPr id="46" name="文本框 45"/>
          <p:cNvSpPr txBox="1"/>
          <p:nvPr/>
        </p:nvSpPr>
        <p:spPr>
          <a:xfrm>
            <a:off x="7088505" y="3714750"/>
            <a:ext cx="1033145" cy="27749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400" dirty="0" smtClean="0"/>
              <a:t>特点：</a:t>
            </a:r>
            <a:endParaRPr lang="zh-CN" altLang="en-US" sz="1400" dirty="0" smtClean="0"/>
          </a:p>
        </p:txBody>
      </p:sp>
      <p:sp>
        <p:nvSpPr>
          <p:cNvPr id="47" name="Freeform 11"/>
          <p:cNvSpPr>
            <a:spLocks noEditPoints="1"/>
          </p:cNvSpPr>
          <p:nvPr/>
        </p:nvSpPr>
        <p:spPr bwMode="auto">
          <a:xfrm>
            <a:off x="6816725" y="3645535"/>
            <a:ext cx="381635" cy="422910"/>
          </a:xfrm>
          <a:custGeom>
            <a:avLst/>
            <a:gdLst>
              <a:gd name="T0" fmla="*/ 542 w 780"/>
              <a:gd name="T1" fmla="*/ 208 h 864"/>
              <a:gd name="T2" fmla="*/ 468 w 780"/>
              <a:gd name="T3" fmla="*/ 106 h 864"/>
              <a:gd name="T4" fmla="*/ 382 w 780"/>
              <a:gd name="T5" fmla="*/ 48 h 864"/>
              <a:gd name="T6" fmla="*/ 266 w 780"/>
              <a:gd name="T7" fmla="*/ 32 h 864"/>
              <a:gd name="T8" fmla="*/ 220 w 780"/>
              <a:gd name="T9" fmla="*/ 20 h 864"/>
              <a:gd name="T10" fmla="*/ 184 w 780"/>
              <a:gd name="T11" fmla="*/ 0 h 864"/>
              <a:gd name="T12" fmla="*/ 146 w 780"/>
              <a:gd name="T13" fmla="*/ 20 h 864"/>
              <a:gd name="T14" fmla="*/ 134 w 780"/>
              <a:gd name="T15" fmla="*/ 62 h 864"/>
              <a:gd name="T16" fmla="*/ 86 w 780"/>
              <a:gd name="T17" fmla="*/ 112 h 864"/>
              <a:gd name="T18" fmla="*/ 20 w 780"/>
              <a:gd name="T19" fmla="*/ 202 h 864"/>
              <a:gd name="T20" fmla="*/ 0 w 780"/>
              <a:gd name="T21" fmla="*/ 306 h 864"/>
              <a:gd name="T22" fmla="*/ 26 w 780"/>
              <a:gd name="T23" fmla="*/ 482 h 864"/>
              <a:gd name="T24" fmla="*/ 52 w 780"/>
              <a:gd name="T25" fmla="*/ 608 h 864"/>
              <a:gd name="T26" fmla="*/ 40 w 780"/>
              <a:gd name="T27" fmla="*/ 660 h 864"/>
              <a:gd name="T28" fmla="*/ 12 w 780"/>
              <a:gd name="T29" fmla="*/ 726 h 864"/>
              <a:gd name="T30" fmla="*/ 18 w 780"/>
              <a:gd name="T31" fmla="*/ 790 h 864"/>
              <a:gd name="T32" fmla="*/ 50 w 780"/>
              <a:gd name="T33" fmla="*/ 826 h 864"/>
              <a:gd name="T34" fmla="*/ 140 w 780"/>
              <a:gd name="T35" fmla="*/ 858 h 864"/>
              <a:gd name="T36" fmla="*/ 268 w 780"/>
              <a:gd name="T37" fmla="*/ 862 h 864"/>
              <a:gd name="T38" fmla="*/ 420 w 780"/>
              <a:gd name="T39" fmla="*/ 832 h 864"/>
              <a:gd name="T40" fmla="*/ 534 w 780"/>
              <a:gd name="T41" fmla="*/ 786 h 864"/>
              <a:gd name="T42" fmla="*/ 660 w 780"/>
              <a:gd name="T43" fmla="*/ 706 h 864"/>
              <a:gd name="T44" fmla="*/ 744 w 780"/>
              <a:gd name="T45" fmla="*/ 618 h 864"/>
              <a:gd name="T46" fmla="*/ 780 w 780"/>
              <a:gd name="T47" fmla="*/ 540 h 864"/>
              <a:gd name="T48" fmla="*/ 770 w 780"/>
              <a:gd name="T49" fmla="*/ 490 h 864"/>
              <a:gd name="T50" fmla="*/ 734 w 780"/>
              <a:gd name="T51" fmla="*/ 448 h 864"/>
              <a:gd name="T52" fmla="*/ 668 w 780"/>
              <a:gd name="T53" fmla="*/ 418 h 864"/>
              <a:gd name="T54" fmla="*/ 626 w 780"/>
              <a:gd name="T55" fmla="*/ 376 h 864"/>
              <a:gd name="T56" fmla="*/ 436 w 780"/>
              <a:gd name="T57" fmla="*/ 754 h 864"/>
              <a:gd name="T58" fmla="*/ 302 w 780"/>
              <a:gd name="T59" fmla="*/ 788 h 864"/>
              <a:gd name="T60" fmla="*/ 192 w 780"/>
              <a:gd name="T61" fmla="*/ 792 h 864"/>
              <a:gd name="T62" fmla="*/ 86 w 780"/>
              <a:gd name="T63" fmla="*/ 768 h 864"/>
              <a:gd name="T64" fmla="*/ 84 w 780"/>
              <a:gd name="T65" fmla="*/ 750 h 864"/>
              <a:gd name="T66" fmla="*/ 110 w 780"/>
              <a:gd name="T67" fmla="*/ 704 h 864"/>
              <a:gd name="T68" fmla="*/ 176 w 780"/>
              <a:gd name="T69" fmla="*/ 642 h 864"/>
              <a:gd name="T70" fmla="*/ 288 w 780"/>
              <a:gd name="T71" fmla="*/ 578 h 864"/>
              <a:gd name="T72" fmla="*/ 402 w 780"/>
              <a:gd name="T73" fmla="*/ 534 h 864"/>
              <a:gd name="T74" fmla="*/ 536 w 780"/>
              <a:gd name="T75" fmla="*/ 500 h 864"/>
              <a:gd name="T76" fmla="*/ 634 w 780"/>
              <a:gd name="T77" fmla="*/ 498 h 864"/>
              <a:gd name="T78" fmla="*/ 694 w 780"/>
              <a:gd name="T79" fmla="*/ 514 h 864"/>
              <a:gd name="T80" fmla="*/ 712 w 780"/>
              <a:gd name="T81" fmla="*/ 532 h 864"/>
              <a:gd name="T82" fmla="*/ 698 w 780"/>
              <a:gd name="T83" fmla="*/ 566 h 864"/>
              <a:gd name="T84" fmla="*/ 608 w 780"/>
              <a:gd name="T85" fmla="*/ 658 h 864"/>
              <a:gd name="T86" fmla="*/ 502 w 780"/>
              <a:gd name="T87" fmla="*/ 726 h 864"/>
              <a:gd name="T88" fmla="*/ 374 w 780"/>
              <a:gd name="T89" fmla="*/ 584 h 864"/>
              <a:gd name="T90" fmla="*/ 276 w 780"/>
              <a:gd name="T91" fmla="*/ 626 h 864"/>
              <a:gd name="T92" fmla="*/ 180 w 780"/>
              <a:gd name="T93" fmla="*/ 686 h 864"/>
              <a:gd name="T94" fmla="*/ 190 w 780"/>
              <a:gd name="T95" fmla="*/ 718 h 864"/>
              <a:gd name="T96" fmla="*/ 268 w 780"/>
              <a:gd name="T97" fmla="*/ 724 h 864"/>
              <a:gd name="T98" fmla="*/ 338 w 780"/>
              <a:gd name="T99" fmla="*/ 702 h 864"/>
              <a:gd name="T100" fmla="*/ 408 w 780"/>
              <a:gd name="T101" fmla="*/ 632 h 864"/>
              <a:gd name="T102" fmla="*/ 416 w 780"/>
              <a:gd name="T103" fmla="*/ 582 h 864"/>
              <a:gd name="T104" fmla="*/ 412 w 780"/>
              <a:gd name="T105" fmla="*/ 570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80" h="864">
                <a:moveTo>
                  <a:pt x="618" y="360"/>
                </a:moveTo>
                <a:lnTo>
                  <a:pt x="618" y="360"/>
                </a:lnTo>
                <a:lnTo>
                  <a:pt x="578" y="276"/>
                </a:lnTo>
                <a:lnTo>
                  <a:pt x="542" y="208"/>
                </a:lnTo>
                <a:lnTo>
                  <a:pt x="524" y="178"/>
                </a:lnTo>
                <a:lnTo>
                  <a:pt x="506" y="150"/>
                </a:lnTo>
                <a:lnTo>
                  <a:pt x="488" y="126"/>
                </a:lnTo>
                <a:lnTo>
                  <a:pt x="468" y="106"/>
                </a:lnTo>
                <a:lnTo>
                  <a:pt x="448" y="86"/>
                </a:lnTo>
                <a:lnTo>
                  <a:pt x="428" y="72"/>
                </a:lnTo>
                <a:lnTo>
                  <a:pt x="406" y="58"/>
                </a:lnTo>
                <a:lnTo>
                  <a:pt x="382" y="48"/>
                </a:lnTo>
                <a:lnTo>
                  <a:pt x="358" y="42"/>
                </a:lnTo>
                <a:lnTo>
                  <a:pt x="330" y="36"/>
                </a:lnTo>
                <a:lnTo>
                  <a:pt x="300" y="34"/>
                </a:lnTo>
                <a:lnTo>
                  <a:pt x="266" y="32"/>
                </a:lnTo>
                <a:lnTo>
                  <a:pt x="266" y="32"/>
                </a:lnTo>
                <a:lnTo>
                  <a:pt x="246" y="32"/>
                </a:lnTo>
                <a:lnTo>
                  <a:pt x="230" y="26"/>
                </a:lnTo>
                <a:lnTo>
                  <a:pt x="220" y="20"/>
                </a:lnTo>
                <a:lnTo>
                  <a:pt x="212" y="12"/>
                </a:lnTo>
                <a:lnTo>
                  <a:pt x="204" y="6"/>
                </a:lnTo>
                <a:lnTo>
                  <a:pt x="196" y="2"/>
                </a:lnTo>
                <a:lnTo>
                  <a:pt x="184" y="0"/>
                </a:lnTo>
                <a:lnTo>
                  <a:pt x="168" y="4"/>
                </a:lnTo>
                <a:lnTo>
                  <a:pt x="168" y="4"/>
                </a:lnTo>
                <a:lnTo>
                  <a:pt x="154" y="12"/>
                </a:lnTo>
                <a:lnTo>
                  <a:pt x="146" y="20"/>
                </a:lnTo>
                <a:lnTo>
                  <a:pt x="142" y="28"/>
                </a:lnTo>
                <a:lnTo>
                  <a:pt x="140" y="38"/>
                </a:lnTo>
                <a:lnTo>
                  <a:pt x="138" y="50"/>
                </a:lnTo>
                <a:lnTo>
                  <a:pt x="134" y="62"/>
                </a:lnTo>
                <a:lnTo>
                  <a:pt x="126" y="76"/>
                </a:lnTo>
                <a:lnTo>
                  <a:pt x="110" y="90"/>
                </a:lnTo>
                <a:lnTo>
                  <a:pt x="110" y="90"/>
                </a:lnTo>
                <a:lnTo>
                  <a:pt x="86" y="112"/>
                </a:lnTo>
                <a:lnTo>
                  <a:pt x="64" y="134"/>
                </a:lnTo>
                <a:lnTo>
                  <a:pt x="46" y="156"/>
                </a:lnTo>
                <a:lnTo>
                  <a:pt x="32" y="178"/>
                </a:lnTo>
                <a:lnTo>
                  <a:pt x="20" y="202"/>
                </a:lnTo>
                <a:lnTo>
                  <a:pt x="12" y="226"/>
                </a:lnTo>
                <a:lnTo>
                  <a:pt x="4" y="252"/>
                </a:lnTo>
                <a:lnTo>
                  <a:pt x="2" y="278"/>
                </a:lnTo>
                <a:lnTo>
                  <a:pt x="0" y="306"/>
                </a:lnTo>
                <a:lnTo>
                  <a:pt x="2" y="338"/>
                </a:lnTo>
                <a:lnTo>
                  <a:pt x="4" y="370"/>
                </a:lnTo>
                <a:lnTo>
                  <a:pt x="10" y="404"/>
                </a:lnTo>
                <a:lnTo>
                  <a:pt x="26" y="482"/>
                </a:lnTo>
                <a:lnTo>
                  <a:pt x="48" y="572"/>
                </a:lnTo>
                <a:lnTo>
                  <a:pt x="48" y="572"/>
                </a:lnTo>
                <a:lnTo>
                  <a:pt x="52" y="590"/>
                </a:lnTo>
                <a:lnTo>
                  <a:pt x="52" y="608"/>
                </a:lnTo>
                <a:lnTo>
                  <a:pt x="52" y="622"/>
                </a:lnTo>
                <a:lnTo>
                  <a:pt x="50" y="636"/>
                </a:lnTo>
                <a:lnTo>
                  <a:pt x="46" y="648"/>
                </a:lnTo>
                <a:lnTo>
                  <a:pt x="40" y="660"/>
                </a:lnTo>
                <a:lnTo>
                  <a:pt x="30" y="682"/>
                </a:lnTo>
                <a:lnTo>
                  <a:pt x="18" y="702"/>
                </a:lnTo>
                <a:lnTo>
                  <a:pt x="14" y="714"/>
                </a:lnTo>
                <a:lnTo>
                  <a:pt x="12" y="726"/>
                </a:lnTo>
                <a:lnTo>
                  <a:pt x="10" y="740"/>
                </a:lnTo>
                <a:lnTo>
                  <a:pt x="10" y="754"/>
                </a:lnTo>
                <a:lnTo>
                  <a:pt x="12" y="770"/>
                </a:lnTo>
                <a:lnTo>
                  <a:pt x="18" y="790"/>
                </a:lnTo>
                <a:lnTo>
                  <a:pt x="18" y="790"/>
                </a:lnTo>
                <a:lnTo>
                  <a:pt x="26" y="802"/>
                </a:lnTo>
                <a:lnTo>
                  <a:pt x="36" y="816"/>
                </a:lnTo>
                <a:lnTo>
                  <a:pt x="50" y="826"/>
                </a:lnTo>
                <a:lnTo>
                  <a:pt x="68" y="836"/>
                </a:lnTo>
                <a:lnTo>
                  <a:pt x="90" y="846"/>
                </a:lnTo>
                <a:lnTo>
                  <a:pt x="114" y="852"/>
                </a:lnTo>
                <a:lnTo>
                  <a:pt x="140" y="858"/>
                </a:lnTo>
                <a:lnTo>
                  <a:pt x="170" y="862"/>
                </a:lnTo>
                <a:lnTo>
                  <a:pt x="200" y="864"/>
                </a:lnTo>
                <a:lnTo>
                  <a:pt x="234" y="864"/>
                </a:lnTo>
                <a:lnTo>
                  <a:pt x="268" y="862"/>
                </a:lnTo>
                <a:lnTo>
                  <a:pt x="304" y="858"/>
                </a:lnTo>
                <a:lnTo>
                  <a:pt x="342" y="852"/>
                </a:lnTo>
                <a:lnTo>
                  <a:pt x="380" y="844"/>
                </a:lnTo>
                <a:lnTo>
                  <a:pt x="420" y="832"/>
                </a:lnTo>
                <a:lnTo>
                  <a:pt x="458" y="818"/>
                </a:lnTo>
                <a:lnTo>
                  <a:pt x="458" y="818"/>
                </a:lnTo>
                <a:lnTo>
                  <a:pt x="498" y="802"/>
                </a:lnTo>
                <a:lnTo>
                  <a:pt x="534" y="786"/>
                </a:lnTo>
                <a:lnTo>
                  <a:pt x="570" y="768"/>
                </a:lnTo>
                <a:lnTo>
                  <a:pt x="602" y="748"/>
                </a:lnTo>
                <a:lnTo>
                  <a:pt x="632" y="726"/>
                </a:lnTo>
                <a:lnTo>
                  <a:pt x="660" y="706"/>
                </a:lnTo>
                <a:lnTo>
                  <a:pt x="686" y="684"/>
                </a:lnTo>
                <a:lnTo>
                  <a:pt x="708" y="662"/>
                </a:lnTo>
                <a:lnTo>
                  <a:pt x="728" y="640"/>
                </a:lnTo>
                <a:lnTo>
                  <a:pt x="744" y="618"/>
                </a:lnTo>
                <a:lnTo>
                  <a:pt x="758" y="598"/>
                </a:lnTo>
                <a:lnTo>
                  <a:pt x="770" y="578"/>
                </a:lnTo>
                <a:lnTo>
                  <a:pt x="776" y="558"/>
                </a:lnTo>
                <a:lnTo>
                  <a:pt x="780" y="540"/>
                </a:lnTo>
                <a:lnTo>
                  <a:pt x="780" y="522"/>
                </a:lnTo>
                <a:lnTo>
                  <a:pt x="778" y="508"/>
                </a:lnTo>
                <a:lnTo>
                  <a:pt x="778" y="508"/>
                </a:lnTo>
                <a:lnTo>
                  <a:pt x="770" y="490"/>
                </a:lnTo>
                <a:lnTo>
                  <a:pt x="762" y="476"/>
                </a:lnTo>
                <a:lnTo>
                  <a:pt x="752" y="464"/>
                </a:lnTo>
                <a:lnTo>
                  <a:pt x="744" y="454"/>
                </a:lnTo>
                <a:lnTo>
                  <a:pt x="734" y="448"/>
                </a:lnTo>
                <a:lnTo>
                  <a:pt x="722" y="442"/>
                </a:lnTo>
                <a:lnTo>
                  <a:pt x="702" y="432"/>
                </a:lnTo>
                <a:lnTo>
                  <a:pt x="678" y="424"/>
                </a:lnTo>
                <a:lnTo>
                  <a:pt x="668" y="418"/>
                </a:lnTo>
                <a:lnTo>
                  <a:pt x="658" y="410"/>
                </a:lnTo>
                <a:lnTo>
                  <a:pt x="646" y="402"/>
                </a:lnTo>
                <a:lnTo>
                  <a:pt x="636" y="390"/>
                </a:lnTo>
                <a:lnTo>
                  <a:pt x="626" y="376"/>
                </a:lnTo>
                <a:lnTo>
                  <a:pt x="618" y="360"/>
                </a:lnTo>
                <a:lnTo>
                  <a:pt x="618" y="360"/>
                </a:lnTo>
                <a:close/>
                <a:moveTo>
                  <a:pt x="436" y="754"/>
                </a:moveTo>
                <a:lnTo>
                  <a:pt x="436" y="754"/>
                </a:lnTo>
                <a:lnTo>
                  <a:pt x="400" y="766"/>
                </a:lnTo>
                <a:lnTo>
                  <a:pt x="366" y="776"/>
                </a:lnTo>
                <a:lnTo>
                  <a:pt x="334" y="782"/>
                </a:lnTo>
                <a:lnTo>
                  <a:pt x="302" y="788"/>
                </a:lnTo>
                <a:lnTo>
                  <a:pt x="272" y="792"/>
                </a:lnTo>
                <a:lnTo>
                  <a:pt x="242" y="794"/>
                </a:lnTo>
                <a:lnTo>
                  <a:pt x="216" y="794"/>
                </a:lnTo>
                <a:lnTo>
                  <a:pt x="192" y="792"/>
                </a:lnTo>
                <a:lnTo>
                  <a:pt x="148" y="788"/>
                </a:lnTo>
                <a:lnTo>
                  <a:pt x="116" y="780"/>
                </a:lnTo>
                <a:lnTo>
                  <a:pt x="94" y="772"/>
                </a:lnTo>
                <a:lnTo>
                  <a:pt x="86" y="768"/>
                </a:lnTo>
                <a:lnTo>
                  <a:pt x="84" y="764"/>
                </a:lnTo>
                <a:lnTo>
                  <a:pt x="84" y="764"/>
                </a:lnTo>
                <a:lnTo>
                  <a:pt x="82" y="758"/>
                </a:lnTo>
                <a:lnTo>
                  <a:pt x="84" y="750"/>
                </a:lnTo>
                <a:lnTo>
                  <a:pt x="86" y="740"/>
                </a:lnTo>
                <a:lnTo>
                  <a:pt x="92" y="728"/>
                </a:lnTo>
                <a:lnTo>
                  <a:pt x="100" y="716"/>
                </a:lnTo>
                <a:lnTo>
                  <a:pt x="110" y="704"/>
                </a:lnTo>
                <a:lnTo>
                  <a:pt x="122" y="688"/>
                </a:lnTo>
                <a:lnTo>
                  <a:pt x="138" y="674"/>
                </a:lnTo>
                <a:lnTo>
                  <a:pt x="156" y="658"/>
                </a:lnTo>
                <a:lnTo>
                  <a:pt x="176" y="642"/>
                </a:lnTo>
                <a:lnTo>
                  <a:pt x="200" y="626"/>
                </a:lnTo>
                <a:lnTo>
                  <a:pt x="226" y="610"/>
                </a:lnTo>
                <a:lnTo>
                  <a:pt x="254" y="594"/>
                </a:lnTo>
                <a:lnTo>
                  <a:pt x="288" y="578"/>
                </a:lnTo>
                <a:lnTo>
                  <a:pt x="322" y="562"/>
                </a:lnTo>
                <a:lnTo>
                  <a:pt x="362" y="546"/>
                </a:lnTo>
                <a:lnTo>
                  <a:pt x="362" y="546"/>
                </a:lnTo>
                <a:lnTo>
                  <a:pt x="402" y="534"/>
                </a:lnTo>
                <a:lnTo>
                  <a:pt x="438" y="522"/>
                </a:lnTo>
                <a:lnTo>
                  <a:pt x="474" y="512"/>
                </a:lnTo>
                <a:lnTo>
                  <a:pt x="506" y="506"/>
                </a:lnTo>
                <a:lnTo>
                  <a:pt x="536" y="500"/>
                </a:lnTo>
                <a:lnTo>
                  <a:pt x="564" y="498"/>
                </a:lnTo>
                <a:lnTo>
                  <a:pt x="590" y="496"/>
                </a:lnTo>
                <a:lnTo>
                  <a:pt x="614" y="496"/>
                </a:lnTo>
                <a:lnTo>
                  <a:pt x="634" y="498"/>
                </a:lnTo>
                <a:lnTo>
                  <a:pt x="652" y="500"/>
                </a:lnTo>
                <a:lnTo>
                  <a:pt x="668" y="504"/>
                </a:lnTo>
                <a:lnTo>
                  <a:pt x="682" y="508"/>
                </a:lnTo>
                <a:lnTo>
                  <a:pt x="694" y="514"/>
                </a:lnTo>
                <a:lnTo>
                  <a:pt x="702" y="518"/>
                </a:lnTo>
                <a:lnTo>
                  <a:pt x="708" y="526"/>
                </a:lnTo>
                <a:lnTo>
                  <a:pt x="712" y="532"/>
                </a:lnTo>
                <a:lnTo>
                  <a:pt x="712" y="532"/>
                </a:lnTo>
                <a:lnTo>
                  <a:pt x="712" y="536"/>
                </a:lnTo>
                <a:lnTo>
                  <a:pt x="710" y="544"/>
                </a:lnTo>
                <a:lnTo>
                  <a:pt x="706" y="554"/>
                </a:lnTo>
                <a:lnTo>
                  <a:pt x="698" y="566"/>
                </a:lnTo>
                <a:lnTo>
                  <a:pt x="678" y="592"/>
                </a:lnTo>
                <a:lnTo>
                  <a:pt x="648" y="624"/>
                </a:lnTo>
                <a:lnTo>
                  <a:pt x="630" y="642"/>
                </a:lnTo>
                <a:lnTo>
                  <a:pt x="608" y="658"/>
                </a:lnTo>
                <a:lnTo>
                  <a:pt x="586" y="676"/>
                </a:lnTo>
                <a:lnTo>
                  <a:pt x="560" y="692"/>
                </a:lnTo>
                <a:lnTo>
                  <a:pt x="532" y="710"/>
                </a:lnTo>
                <a:lnTo>
                  <a:pt x="502" y="726"/>
                </a:lnTo>
                <a:lnTo>
                  <a:pt x="470" y="740"/>
                </a:lnTo>
                <a:lnTo>
                  <a:pt x="436" y="754"/>
                </a:lnTo>
                <a:lnTo>
                  <a:pt x="436" y="754"/>
                </a:lnTo>
                <a:close/>
                <a:moveTo>
                  <a:pt x="374" y="584"/>
                </a:moveTo>
                <a:lnTo>
                  <a:pt x="374" y="584"/>
                </a:lnTo>
                <a:lnTo>
                  <a:pt x="340" y="598"/>
                </a:lnTo>
                <a:lnTo>
                  <a:pt x="306" y="612"/>
                </a:lnTo>
                <a:lnTo>
                  <a:pt x="276" y="626"/>
                </a:lnTo>
                <a:lnTo>
                  <a:pt x="248" y="642"/>
                </a:lnTo>
                <a:lnTo>
                  <a:pt x="224" y="656"/>
                </a:lnTo>
                <a:lnTo>
                  <a:pt x="200" y="672"/>
                </a:lnTo>
                <a:lnTo>
                  <a:pt x="180" y="686"/>
                </a:lnTo>
                <a:lnTo>
                  <a:pt x="162" y="700"/>
                </a:lnTo>
                <a:lnTo>
                  <a:pt x="162" y="700"/>
                </a:lnTo>
                <a:lnTo>
                  <a:pt x="176" y="710"/>
                </a:lnTo>
                <a:lnTo>
                  <a:pt x="190" y="718"/>
                </a:lnTo>
                <a:lnTo>
                  <a:pt x="208" y="722"/>
                </a:lnTo>
                <a:lnTo>
                  <a:pt x="226" y="726"/>
                </a:lnTo>
                <a:lnTo>
                  <a:pt x="246" y="726"/>
                </a:lnTo>
                <a:lnTo>
                  <a:pt x="268" y="724"/>
                </a:lnTo>
                <a:lnTo>
                  <a:pt x="290" y="720"/>
                </a:lnTo>
                <a:lnTo>
                  <a:pt x="312" y="714"/>
                </a:lnTo>
                <a:lnTo>
                  <a:pt x="312" y="714"/>
                </a:lnTo>
                <a:lnTo>
                  <a:pt x="338" y="702"/>
                </a:lnTo>
                <a:lnTo>
                  <a:pt x="362" y="688"/>
                </a:lnTo>
                <a:lnTo>
                  <a:pt x="380" y="670"/>
                </a:lnTo>
                <a:lnTo>
                  <a:pt x="396" y="652"/>
                </a:lnTo>
                <a:lnTo>
                  <a:pt x="408" y="632"/>
                </a:lnTo>
                <a:lnTo>
                  <a:pt x="416" y="612"/>
                </a:lnTo>
                <a:lnTo>
                  <a:pt x="416" y="602"/>
                </a:lnTo>
                <a:lnTo>
                  <a:pt x="418" y="592"/>
                </a:lnTo>
                <a:lnTo>
                  <a:pt x="416" y="582"/>
                </a:lnTo>
                <a:lnTo>
                  <a:pt x="414" y="572"/>
                </a:lnTo>
                <a:lnTo>
                  <a:pt x="414" y="572"/>
                </a:lnTo>
                <a:lnTo>
                  <a:pt x="412" y="570"/>
                </a:lnTo>
                <a:lnTo>
                  <a:pt x="412" y="570"/>
                </a:lnTo>
                <a:lnTo>
                  <a:pt x="374" y="584"/>
                </a:lnTo>
                <a:lnTo>
                  <a:pt x="374" y="5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en-US" dirty="0"/>
          </a:p>
        </p:txBody>
      </p:sp>
      <p:sp>
        <p:nvSpPr>
          <p:cNvPr id="290" name="Freeform 13"/>
          <p:cNvSpPr>
            <a:spLocks noEditPoints="1"/>
          </p:cNvSpPr>
          <p:nvPr/>
        </p:nvSpPr>
        <p:spPr bwMode="auto">
          <a:xfrm>
            <a:off x="8281670" y="2238375"/>
            <a:ext cx="431165" cy="495935"/>
          </a:xfrm>
          <a:custGeom>
            <a:avLst/>
            <a:gdLst>
              <a:gd name="T0" fmla="*/ 27 w 94"/>
              <a:gd name="T1" fmla="*/ 39 h 108"/>
              <a:gd name="T2" fmla="*/ 52 w 94"/>
              <a:gd name="T3" fmla="*/ 37 h 108"/>
              <a:gd name="T4" fmla="*/ 93 w 94"/>
              <a:gd name="T5" fmla="*/ 58 h 108"/>
              <a:gd name="T6" fmla="*/ 90 w 94"/>
              <a:gd name="T7" fmla="*/ 50 h 108"/>
              <a:gd name="T8" fmla="*/ 88 w 94"/>
              <a:gd name="T9" fmla="*/ 43 h 108"/>
              <a:gd name="T10" fmla="*/ 89 w 94"/>
              <a:gd name="T11" fmla="*/ 39 h 108"/>
              <a:gd name="T12" fmla="*/ 87 w 94"/>
              <a:gd name="T13" fmla="*/ 32 h 108"/>
              <a:gd name="T14" fmla="*/ 84 w 94"/>
              <a:gd name="T15" fmla="*/ 25 h 108"/>
              <a:gd name="T16" fmla="*/ 84 w 94"/>
              <a:gd name="T17" fmla="*/ 19 h 108"/>
              <a:gd name="T18" fmla="*/ 80 w 94"/>
              <a:gd name="T19" fmla="*/ 14 h 108"/>
              <a:gd name="T20" fmla="*/ 76 w 94"/>
              <a:gd name="T21" fmla="*/ 10 h 108"/>
              <a:gd name="T22" fmla="*/ 75 w 94"/>
              <a:gd name="T23" fmla="*/ 7 h 108"/>
              <a:gd name="T24" fmla="*/ 70 w 94"/>
              <a:gd name="T25" fmla="*/ 4 h 108"/>
              <a:gd name="T26" fmla="*/ 65 w 94"/>
              <a:gd name="T27" fmla="*/ 2 h 108"/>
              <a:gd name="T28" fmla="*/ 58 w 94"/>
              <a:gd name="T29" fmla="*/ 1 h 108"/>
              <a:gd name="T30" fmla="*/ 51 w 94"/>
              <a:gd name="T31" fmla="*/ 0 h 108"/>
              <a:gd name="T32" fmla="*/ 45 w 94"/>
              <a:gd name="T33" fmla="*/ 0 h 108"/>
              <a:gd name="T34" fmla="*/ 38 w 94"/>
              <a:gd name="T35" fmla="*/ 1 h 108"/>
              <a:gd name="T36" fmla="*/ 31 w 94"/>
              <a:gd name="T37" fmla="*/ 2 h 108"/>
              <a:gd name="T38" fmla="*/ 24 w 94"/>
              <a:gd name="T39" fmla="*/ 4 h 108"/>
              <a:gd name="T40" fmla="*/ 18 w 94"/>
              <a:gd name="T41" fmla="*/ 8 h 108"/>
              <a:gd name="T42" fmla="*/ 13 w 94"/>
              <a:gd name="T43" fmla="*/ 12 h 108"/>
              <a:gd name="T44" fmla="*/ 8 w 94"/>
              <a:gd name="T45" fmla="*/ 17 h 108"/>
              <a:gd name="T46" fmla="*/ 5 w 94"/>
              <a:gd name="T47" fmla="*/ 22 h 108"/>
              <a:gd name="T48" fmla="*/ 2 w 94"/>
              <a:gd name="T49" fmla="*/ 28 h 108"/>
              <a:gd name="T50" fmla="*/ 0 w 94"/>
              <a:gd name="T51" fmla="*/ 36 h 108"/>
              <a:gd name="T52" fmla="*/ 1 w 94"/>
              <a:gd name="T53" fmla="*/ 49 h 108"/>
              <a:gd name="T54" fmla="*/ 24 w 94"/>
              <a:gd name="T55" fmla="*/ 97 h 108"/>
              <a:gd name="T56" fmla="*/ 71 w 94"/>
              <a:gd name="T57" fmla="*/ 107 h 108"/>
              <a:gd name="T58" fmla="*/ 72 w 94"/>
              <a:gd name="T59" fmla="*/ 93 h 108"/>
              <a:gd name="T60" fmla="*/ 73 w 94"/>
              <a:gd name="T61" fmla="*/ 90 h 108"/>
              <a:gd name="T62" fmla="*/ 76 w 94"/>
              <a:gd name="T63" fmla="*/ 89 h 108"/>
              <a:gd name="T64" fmla="*/ 79 w 94"/>
              <a:gd name="T65" fmla="*/ 89 h 108"/>
              <a:gd name="T66" fmla="*/ 82 w 94"/>
              <a:gd name="T67" fmla="*/ 90 h 108"/>
              <a:gd name="T68" fmla="*/ 83 w 94"/>
              <a:gd name="T69" fmla="*/ 90 h 108"/>
              <a:gd name="T70" fmla="*/ 86 w 94"/>
              <a:gd name="T71" fmla="*/ 90 h 108"/>
              <a:gd name="T72" fmla="*/ 89 w 94"/>
              <a:gd name="T73" fmla="*/ 88 h 108"/>
              <a:gd name="T74" fmla="*/ 89 w 94"/>
              <a:gd name="T75" fmla="*/ 84 h 108"/>
              <a:gd name="T76" fmla="*/ 90 w 94"/>
              <a:gd name="T77" fmla="*/ 81 h 108"/>
              <a:gd name="T78" fmla="*/ 91 w 94"/>
              <a:gd name="T79" fmla="*/ 79 h 108"/>
              <a:gd name="T80" fmla="*/ 90 w 94"/>
              <a:gd name="T81" fmla="*/ 77 h 108"/>
              <a:gd name="T82" fmla="*/ 89 w 94"/>
              <a:gd name="T83" fmla="*/ 75 h 108"/>
              <a:gd name="T84" fmla="*/ 90 w 94"/>
              <a:gd name="T85" fmla="*/ 73 h 108"/>
              <a:gd name="T86" fmla="*/ 91 w 94"/>
              <a:gd name="T87" fmla="*/ 71 h 108"/>
              <a:gd name="T88" fmla="*/ 90 w 94"/>
              <a:gd name="T89" fmla="*/ 66 h 108"/>
              <a:gd name="T90" fmla="*/ 92 w 94"/>
              <a:gd name="T91" fmla="*/ 63 h 108"/>
              <a:gd name="T92" fmla="*/ 94 w 94"/>
              <a:gd name="T93" fmla="*/ 61 h 108"/>
              <a:gd name="T94" fmla="*/ 28 w 94"/>
              <a:gd name="T95" fmla="*/ 46 h 108"/>
              <a:gd name="T96" fmla="*/ 22 w 94"/>
              <a:gd name="T97" fmla="*/ 47 h 108"/>
              <a:gd name="T98" fmla="*/ 18 w 94"/>
              <a:gd name="T99" fmla="*/ 44 h 108"/>
              <a:gd name="T100" fmla="*/ 17 w 94"/>
              <a:gd name="T101" fmla="*/ 38 h 108"/>
              <a:gd name="T102" fmla="*/ 20 w 94"/>
              <a:gd name="T103" fmla="*/ 33 h 108"/>
              <a:gd name="T104" fmla="*/ 26 w 94"/>
              <a:gd name="T105" fmla="*/ 33 h 108"/>
              <a:gd name="T106" fmla="*/ 30 w 94"/>
              <a:gd name="T107" fmla="*/ 36 h 108"/>
              <a:gd name="T108" fmla="*/ 31 w 94"/>
              <a:gd name="T109" fmla="*/ 42 h 108"/>
              <a:gd name="T110" fmla="*/ 67 w 94"/>
              <a:gd name="T111" fmla="*/ 35 h 108"/>
              <a:gd name="T112" fmla="*/ 59 w 94"/>
              <a:gd name="T113" fmla="*/ 44 h 108"/>
              <a:gd name="T114" fmla="*/ 47 w 94"/>
              <a:gd name="T115" fmla="*/ 45 h 108"/>
              <a:gd name="T116" fmla="*/ 38 w 94"/>
              <a:gd name="T117" fmla="*/ 37 h 108"/>
              <a:gd name="T118" fmla="*/ 37 w 94"/>
              <a:gd name="T119" fmla="*/ 25 h 108"/>
              <a:gd name="T120" fmla="*/ 45 w 94"/>
              <a:gd name="T121" fmla="*/ 16 h 108"/>
              <a:gd name="T122" fmla="*/ 57 w 94"/>
              <a:gd name="T123" fmla="*/ 15 h 108"/>
              <a:gd name="T124" fmla="*/ 66 w 94"/>
              <a:gd name="T125" fmla="*/ 23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4" h="108">
                <a:moveTo>
                  <a:pt x="25" y="43"/>
                </a:moveTo>
                <a:cubicBezTo>
                  <a:pt x="23" y="43"/>
                  <a:pt x="22" y="42"/>
                  <a:pt x="21" y="41"/>
                </a:cubicBezTo>
                <a:cubicBezTo>
                  <a:pt x="21" y="39"/>
                  <a:pt x="22" y="37"/>
                  <a:pt x="23" y="37"/>
                </a:cubicBezTo>
                <a:cubicBezTo>
                  <a:pt x="25" y="36"/>
                  <a:pt x="27" y="37"/>
                  <a:pt x="27" y="39"/>
                </a:cubicBezTo>
                <a:cubicBezTo>
                  <a:pt x="28" y="41"/>
                  <a:pt x="27" y="43"/>
                  <a:pt x="25" y="43"/>
                </a:cubicBezTo>
                <a:close/>
                <a:moveTo>
                  <a:pt x="52" y="24"/>
                </a:moveTo>
                <a:cubicBezTo>
                  <a:pt x="48" y="24"/>
                  <a:pt x="45" y="26"/>
                  <a:pt x="45" y="30"/>
                </a:cubicBezTo>
                <a:cubicBezTo>
                  <a:pt x="45" y="34"/>
                  <a:pt x="48" y="37"/>
                  <a:pt x="52" y="37"/>
                </a:cubicBezTo>
                <a:cubicBezTo>
                  <a:pt x="56" y="37"/>
                  <a:pt x="59" y="34"/>
                  <a:pt x="59" y="30"/>
                </a:cubicBezTo>
                <a:cubicBezTo>
                  <a:pt x="59" y="26"/>
                  <a:pt x="56" y="24"/>
                  <a:pt x="52" y="24"/>
                </a:cubicBezTo>
                <a:close/>
                <a:moveTo>
                  <a:pt x="94" y="61"/>
                </a:moveTo>
                <a:cubicBezTo>
                  <a:pt x="93" y="58"/>
                  <a:pt x="93" y="58"/>
                  <a:pt x="93" y="58"/>
                </a:cubicBezTo>
                <a:cubicBezTo>
                  <a:pt x="92" y="56"/>
                  <a:pt x="92" y="56"/>
                  <a:pt x="92" y="56"/>
                </a:cubicBezTo>
                <a:cubicBezTo>
                  <a:pt x="92" y="54"/>
                  <a:pt x="92" y="54"/>
                  <a:pt x="92" y="54"/>
                </a:cubicBezTo>
                <a:cubicBezTo>
                  <a:pt x="91" y="52"/>
                  <a:pt x="91" y="52"/>
                  <a:pt x="91" y="52"/>
                </a:cubicBezTo>
                <a:cubicBezTo>
                  <a:pt x="90" y="50"/>
                  <a:pt x="90" y="50"/>
                  <a:pt x="90" y="50"/>
                </a:cubicBezTo>
                <a:cubicBezTo>
                  <a:pt x="89" y="48"/>
                  <a:pt x="89" y="48"/>
                  <a:pt x="89" y="48"/>
                </a:cubicBezTo>
                <a:cubicBezTo>
                  <a:pt x="89" y="46"/>
                  <a:pt x="89" y="46"/>
                  <a:pt x="89" y="46"/>
                </a:cubicBezTo>
                <a:cubicBezTo>
                  <a:pt x="88" y="44"/>
                  <a:pt x="88" y="44"/>
                  <a:pt x="88" y="44"/>
                </a:cubicBezTo>
                <a:cubicBezTo>
                  <a:pt x="88" y="43"/>
                  <a:pt x="88" y="43"/>
                  <a:pt x="88" y="43"/>
                </a:cubicBezTo>
                <a:cubicBezTo>
                  <a:pt x="89" y="43"/>
                  <a:pt x="89" y="43"/>
                  <a:pt x="89" y="43"/>
                </a:cubicBezTo>
                <a:cubicBezTo>
                  <a:pt x="89" y="42"/>
                  <a:pt x="89" y="42"/>
                  <a:pt x="89" y="42"/>
                </a:cubicBezTo>
                <a:cubicBezTo>
                  <a:pt x="89" y="41"/>
                  <a:pt x="89" y="41"/>
                  <a:pt x="89" y="41"/>
                </a:cubicBezTo>
                <a:cubicBezTo>
                  <a:pt x="89" y="39"/>
                  <a:pt x="89" y="39"/>
                  <a:pt x="89" y="39"/>
                </a:cubicBezTo>
                <a:cubicBezTo>
                  <a:pt x="89" y="37"/>
                  <a:pt x="89" y="37"/>
                  <a:pt x="89" y="37"/>
                </a:cubicBezTo>
                <a:cubicBezTo>
                  <a:pt x="88" y="36"/>
                  <a:pt x="88" y="36"/>
                  <a:pt x="88" y="36"/>
                </a:cubicBezTo>
                <a:cubicBezTo>
                  <a:pt x="87" y="34"/>
                  <a:pt x="87" y="34"/>
                  <a:pt x="87" y="34"/>
                </a:cubicBezTo>
                <a:cubicBezTo>
                  <a:pt x="87" y="32"/>
                  <a:pt x="87" y="32"/>
                  <a:pt x="87" y="32"/>
                </a:cubicBezTo>
                <a:cubicBezTo>
                  <a:pt x="86" y="30"/>
                  <a:pt x="86" y="30"/>
                  <a:pt x="86" y="30"/>
                </a:cubicBezTo>
                <a:cubicBezTo>
                  <a:pt x="86" y="29"/>
                  <a:pt x="86" y="29"/>
                  <a:pt x="86" y="29"/>
                </a:cubicBezTo>
                <a:cubicBezTo>
                  <a:pt x="85" y="27"/>
                  <a:pt x="85" y="27"/>
                  <a:pt x="85" y="27"/>
                </a:cubicBezTo>
                <a:cubicBezTo>
                  <a:pt x="84" y="25"/>
                  <a:pt x="84" y="25"/>
                  <a:pt x="84" y="25"/>
                </a:cubicBezTo>
                <a:cubicBezTo>
                  <a:pt x="83" y="24"/>
                  <a:pt x="83" y="24"/>
                  <a:pt x="83" y="24"/>
                </a:cubicBezTo>
                <a:cubicBezTo>
                  <a:pt x="83" y="22"/>
                  <a:pt x="83" y="22"/>
                  <a:pt x="83" y="22"/>
                </a:cubicBezTo>
                <a:cubicBezTo>
                  <a:pt x="85" y="21"/>
                  <a:pt x="85" y="21"/>
                  <a:pt x="85" y="21"/>
                </a:cubicBezTo>
                <a:cubicBezTo>
                  <a:pt x="84" y="19"/>
                  <a:pt x="84" y="19"/>
                  <a:pt x="84" y="19"/>
                </a:cubicBezTo>
                <a:cubicBezTo>
                  <a:pt x="83" y="18"/>
                  <a:pt x="83" y="18"/>
                  <a:pt x="83" y="18"/>
                </a:cubicBezTo>
                <a:cubicBezTo>
                  <a:pt x="82" y="16"/>
                  <a:pt x="82" y="16"/>
                  <a:pt x="82" y="16"/>
                </a:cubicBezTo>
                <a:cubicBezTo>
                  <a:pt x="81" y="15"/>
                  <a:pt x="81" y="15"/>
                  <a:pt x="81" y="15"/>
                </a:cubicBezTo>
                <a:cubicBezTo>
                  <a:pt x="80" y="14"/>
                  <a:pt x="80" y="14"/>
                  <a:pt x="80" y="14"/>
                </a:cubicBezTo>
                <a:cubicBezTo>
                  <a:pt x="79" y="13"/>
                  <a:pt x="79" y="13"/>
                  <a:pt x="79" y="13"/>
                </a:cubicBezTo>
                <a:cubicBezTo>
                  <a:pt x="78" y="12"/>
                  <a:pt x="78" y="12"/>
                  <a:pt x="78" y="12"/>
                </a:cubicBezTo>
                <a:cubicBezTo>
                  <a:pt x="77" y="11"/>
                  <a:pt x="77" y="11"/>
                  <a:pt x="77" y="11"/>
                </a:cubicBezTo>
                <a:cubicBezTo>
                  <a:pt x="76" y="10"/>
                  <a:pt x="76" y="10"/>
                  <a:pt x="76" y="10"/>
                </a:cubicBezTo>
                <a:cubicBezTo>
                  <a:pt x="79" y="9"/>
                  <a:pt x="79" y="9"/>
                  <a:pt x="79" y="9"/>
                </a:cubicBezTo>
                <a:cubicBezTo>
                  <a:pt x="78" y="8"/>
                  <a:pt x="78" y="8"/>
                  <a:pt x="78" y="8"/>
                </a:cubicBezTo>
                <a:cubicBezTo>
                  <a:pt x="76" y="7"/>
                  <a:pt x="76" y="7"/>
                  <a:pt x="76" y="7"/>
                </a:cubicBezTo>
                <a:cubicBezTo>
                  <a:pt x="75" y="7"/>
                  <a:pt x="75" y="7"/>
                  <a:pt x="75" y="7"/>
                </a:cubicBezTo>
                <a:cubicBezTo>
                  <a:pt x="74" y="6"/>
                  <a:pt x="74" y="6"/>
                  <a:pt x="74" y="6"/>
                </a:cubicBezTo>
                <a:cubicBezTo>
                  <a:pt x="73" y="5"/>
                  <a:pt x="73" y="5"/>
                  <a:pt x="73" y="5"/>
                </a:cubicBezTo>
                <a:cubicBezTo>
                  <a:pt x="72" y="5"/>
                  <a:pt x="72" y="5"/>
                  <a:pt x="72" y="5"/>
                </a:cubicBezTo>
                <a:cubicBezTo>
                  <a:pt x="70" y="4"/>
                  <a:pt x="70" y="4"/>
                  <a:pt x="70" y="4"/>
                </a:cubicBezTo>
                <a:cubicBezTo>
                  <a:pt x="69" y="4"/>
                  <a:pt x="69" y="4"/>
                  <a:pt x="69" y="4"/>
                </a:cubicBezTo>
                <a:cubicBezTo>
                  <a:pt x="68" y="3"/>
                  <a:pt x="68" y="3"/>
                  <a:pt x="68" y="3"/>
                </a:cubicBezTo>
                <a:cubicBezTo>
                  <a:pt x="66" y="3"/>
                  <a:pt x="66" y="3"/>
                  <a:pt x="66" y="3"/>
                </a:cubicBezTo>
                <a:cubicBezTo>
                  <a:pt x="65" y="2"/>
                  <a:pt x="65" y="2"/>
                  <a:pt x="65" y="2"/>
                </a:cubicBezTo>
                <a:cubicBezTo>
                  <a:pt x="63" y="2"/>
                  <a:pt x="63" y="2"/>
                  <a:pt x="63" y="2"/>
                </a:cubicBezTo>
                <a:cubicBezTo>
                  <a:pt x="61" y="1"/>
                  <a:pt x="61" y="1"/>
                  <a:pt x="61" y="1"/>
                </a:cubicBezTo>
                <a:cubicBezTo>
                  <a:pt x="60" y="1"/>
                  <a:pt x="60" y="1"/>
                  <a:pt x="60" y="1"/>
                </a:cubicBezTo>
                <a:cubicBezTo>
                  <a:pt x="58" y="1"/>
                  <a:pt x="58" y="1"/>
                  <a:pt x="58" y="1"/>
                </a:cubicBezTo>
                <a:cubicBezTo>
                  <a:pt x="56" y="0"/>
                  <a:pt x="56" y="0"/>
                  <a:pt x="56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53" y="0"/>
                  <a:pt x="53" y="0"/>
                  <a:pt x="53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1" y="0"/>
                  <a:pt x="41" y="0"/>
                  <a:pt x="41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38" y="1"/>
                  <a:pt x="38" y="1"/>
                  <a:pt x="38" y="1"/>
                </a:cubicBezTo>
                <a:cubicBezTo>
                  <a:pt x="36" y="1"/>
                  <a:pt x="36" y="1"/>
                  <a:pt x="36" y="1"/>
                </a:cubicBezTo>
                <a:cubicBezTo>
                  <a:pt x="35" y="1"/>
                  <a:pt x="35" y="1"/>
                  <a:pt x="35" y="1"/>
                </a:cubicBezTo>
                <a:cubicBezTo>
                  <a:pt x="33" y="2"/>
                  <a:pt x="33" y="2"/>
                  <a:pt x="33" y="2"/>
                </a:cubicBezTo>
                <a:cubicBezTo>
                  <a:pt x="31" y="2"/>
                  <a:pt x="31" y="2"/>
                  <a:pt x="31" y="2"/>
                </a:cubicBezTo>
                <a:cubicBezTo>
                  <a:pt x="29" y="3"/>
                  <a:pt x="29" y="3"/>
                  <a:pt x="29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6" y="4"/>
                  <a:pt x="26" y="4"/>
                  <a:pt x="26" y="4"/>
                </a:cubicBezTo>
                <a:cubicBezTo>
                  <a:pt x="24" y="4"/>
                  <a:pt x="24" y="4"/>
                  <a:pt x="24" y="4"/>
                </a:cubicBezTo>
                <a:cubicBezTo>
                  <a:pt x="23" y="5"/>
                  <a:pt x="23" y="5"/>
                  <a:pt x="23" y="5"/>
                </a:cubicBezTo>
                <a:cubicBezTo>
                  <a:pt x="21" y="6"/>
                  <a:pt x="21" y="6"/>
                  <a:pt x="21" y="6"/>
                </a:cubicBezTo>
                <a:cubicBezTo>
                  <a:pt x="20" y="7"/>
                  <a:pt x="20" y="7"/>
                  <a:pt x="20" y="7"/>
                </a:cubicBezTo>
                <a:cubicBezTo>
                  <a:pt x="18" y="8"/>
                  <a:pt x="18" y="8"/>
                  <a:pt x="18" y="8"/>
                </a:cubicBezTo>
                <a:cubicBezTo>
                  <a:pt x="17" y="9"/>
                  <a:pt x="17" y="9"/>
                  <a:pt x="17" y="9"/>
                </a:cubicBezTo>
                <a:cubicBezTo>
                  <a:pt x="15" y="10"/>
                  <a:pt x="15" y="10"/>
                  <a:pt x="15" y="10"/>
                </a:cubicBezTo>
                <a:cubicBezTo>
                  <a:pt x="14" y="11"/>
                  <a:pt x="14" y="11"/>
                  <a:pt x="14" y="11"/>
                </a:cubicBezTo>
                <a:cubicBezTo>
                  <a:pt x="13" y="12"/>
                  <a:pt x="13" y="12"/>
                  <a:pt x="13" y="12"/>
                </a:cubicBezTo>
                <a:cubicBezTo>
                  <a:pt x="12" y="13"/>
                  <a:pt x="12" y="13"/>
                  <a:pt x="12" y="13"/>
                </a:cubicBezTo>
                <a:cubicBezTo>
                  <a:pt x="10" y="14"/>
                  <a:pt x="10" y="14"/>
                  <a:pt x="10" y="14"/>
                </a:cubicBezTo>
                <a:cubicBezTo>
                  <a:pt x="9" y="15"/>
                  <a:pt x="9" y="15"/>
                  <a:pt x="9" y="15"/>
                </a:cubicBezTo>
                <a:cubicBezTo>
                  <a:pt x="8" y="17"/>
                  <a:pt x="8" y="17"/>
                  <a:pt x="8" y="17"/>
                </a:cubicBezTo>
                <a:cubicBezTo>
                  <a:pt x="7" y="18"/>
                  <a:pt x="7" y="18"/>
                  <a:pt x="7" y="18"/>
                </a:cubicBezTo>
                <a:cubicBezTo>
                  <a:pt x="6" y="19"/>
                  <a:pt x="6" y="19"/>
                  <a:pt x="6" y="19"/>
                </a:cubicBezTo>
                <a:cubicBezTo>
                  <a:pt x="5" y="21"/>
                  <a:pt x="5" y="21"/>
                  <a:pt x="5" y="21"/>
                </a:cubicBezTo>
                <a:cubicBezTo>
                  <a:pt x="5" y="22"/>
                  <a:pt x="5" y="22"/>
                  <a:pt x="5" y="22"/>
                </a:cubicBezTo>
                <a:cubicBezTo>
                  <a:pt x="4" y="24"/>
                  <a:pt x="4" y="24"/>
                  <a:pt x="4" y="24"/>
                </a:cubicBezTo>
                <a:cubicBezTo>
                  <a:pt x="3" y="25"/>
                  <a:pt x="3" y="25"/>
                  <a:pt x="3" y="25"/>
                </a:cubicBezTo>
                <a:cubicBezTo>
                  <a:pt x="3" y="27"/>
                  <a:pt x="3" y="27"/>
                  <a:pt x="3" y="27"/>
                </a:cubicBezTo>
                <a:cubicBezTo>
                  <a:pt x="2" y="28"/>
                  <a:pt x="2" y="28"/>
                  <a:pt x="2" y="28"/>
                </a:cubicBezTo>
                <a:cubicBezTo>
                  <a:pt x="2" y="30"/>
                  <a:pt x="2" y="30"/>
                  <a:pt x="2" y="30"/>
                </a:cubicBezTo>
                <a:cubicBezTo>
                  <a:pt x="1" y="31"/>
                  <a:pt x="1" y="31"/>
                  <a:pt x="1" y="31"/>
                </a:cubicBezTo>
                <a:cubicBezTo>
                  <a:pt x="1" y="33"/>
                  <a:pt x="1" y="33"/>
                  <a:pt x="1" y="33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6"/>
                  <a:pt x="1" y="46"/>
                  <a:pt x="1" y="46"/>
                </a:cubicBezTo>
                <a:cubicBezTo>
                  <a:pt x="1" y="49"/>
                  <a:pt x="1" y="49"/>
                  <a:pt x="1" y="49"/>
                </a:cubicBezTo>
                <a:cubicBezTo>
                  <a:pt x="2" y="52"/>
                  <a:pt x="2" y="52"/>
                  <a:pt x="2" y="52"/>
                </a:cubicBezTo>
                <a:cubicBezTo>
                  <a:pt x="3" y="56"/>
                  <a:pt x="3" y="56"/>
                  <a:pt x="3" y="56"/>
                </a:cubicBezTo>
                <a:cubicBezTo>
                  <a:pt x="11" y="69"/>
                  <a:pt x="11" y="69"/>
                  <a:pt x="11" y="69"/>
                </a:cubicBezTo>
                <a:cubicBezTo>
                  <a:pt x="25" y="83"/>
                  <a:pt x="24" y="97"/>
                  <a:pt x="24" y="97"/>
                </a:cubicBezTo>
                <a:cubicBezTo>
                  <a:pt x="24" y="100"/>
                  <a:pt x="24" y="100"/>
                  <a:pt x="24" y="100"/>
                </a:cubicBezTo>
                <a:cubicBezTo>
                  <a:pt x="24" y="108"/>
                  <a:pt x="24" y="108"/>
                  <a:pt x="24" y="108"/>
                </a:cubicBezTo>
                <a:cubicBezTo>
                  <a:pt x="71" y="108"/>
                  <a:pt x="71" y="108"/>
                  <a:pt x="71" y="108"/>
                </a:cubicBezTo>
                <a:cubicBezTo>
                  <a:pt x="71" y="107"/>
                  <a:pt x="71" y="107"/>
                  <a:pt x="71" y="107"/>
                </a:cubicBezTo>
                <a:cubicBezTo>
                  <a:pt x="71" y="105"/>
                  <a:pt x="71" y="105"/>
                  <a:pt x="71" y="105"/>
                </a:cubicBezTo>
                <a:cubicBezTo>
                  <a:pt x="71" y="102"/>
                  <a:pt x="71" y="102"/>
                  <a:pt x="71" y="102"/>
                </a:cubicBezTo>
                <a:cubicBezTo>
                  <a:pt x="72" y="96"/>
                  <a:pt x="72" y="96"/>
                  <a:pt x="72" y="96"/>
                </a:cubicBezTo>
                <a:cubicBezTo>
                  <a:pt x="72" y="93"/>
                  <a:pt x="72" y="93"/>
                  <a:pt x="72" y="93"/>
                </a:cubicBezTo>
                <a:cubicBezTo>
                  <a:pt x="72" y="92"/>
                  <a:pt x="72" y="92"/>
                  <a:pt x="72" y="92"/>
                </a:cubicBezTo>
                <a:cubicBezTo>
                  <a:pt x="72" y="91"/>
                  <a:pt x="72" y="91"/>
                  <a:pt x="72" y="91"/>
                </a:cubicBezTo>
                <a:cubicBezTo>
                  <a:pt x="73" y="91"/>
                  <a:pt x="73" y="91"/>
                  <a:pt x="73" y="91"/>
                </a:cubicBezTo>
                <a:cubicBezTo>
                  <a:pt x="73" y="90"/>
                  <a:pt x="73" y="90"/>
                  <a:pt x="73" y="90"/>
                </a:cubicBezTo>
                <a:cubicBezTo>
                  <a:pt x="74" y="90"/>
                  <a:pt x="74" y="90"/>
                  <a:pt x="74" y="90"/>
                </a:cubicBezTo>
                <a:cubicBezTo>
                  <a:pt x="74" y="90"/>
                  <a:pt x="74" y="90"/>
                  <a:pt x="74" y="90"/>
                </a:cubicBezTo>
                <a:cubicBezTo>
                  <a:pt x="75" y="90"/>
                  <a:pt x="75" y="90"/>
                  <a:pt x="75" y="90"/>
                </a:cubicBezTo>
                <a:cubicBezTo>
                  <a:pt x="76" y="89"/>
                  <a:pt x="76" y="89"/>
                  <a:pt x="76" y="89"/>
                </a:cubicBezTo>
                <a:cubicBezTo>
                  <a:pt x="77" y="89"/>
                  <a:pt x="77" y="89"/>
                  <a:pt x="77" y="89"/>
                </a:cubicBezTo>
                <a:cubicBezTo>
                  <a:pt x="78" y="89"/>
                  <a:pt x="78" y="89"/>
                  <a:pt x="78" y="89"/>
                </a:cubicBezTo>
                <a:cubicBezTo>
                  <a:pt x="78" y="89"/>
                  <a:pt x="78" y="89"/>
                  <a:pt x="78" y="89"/>
                </a:cubicBezTo>
                <a:cubicBezTo>
                  <a:pt x="79" y="89"/>
                  <a:pt x="79" y="89"/>
                  <a:pt x="79" y="89"/>
                </a:cubicBezTo>
                <a:cubicBezTo>
                  <a:pt x="80" y="89"/>
                  <a:pt x="80" y="89"/>
                  <a:pt x="80" y="89"/>
                </a:cubicBezTo>
                <a:cubicBezTo>
                  <a:pt x="81" y="90"/>
                  <a:pt x="81" y="90"/>
                  <a:pt x="81" y="90"/>
                </a:cubicBezTo>
                <a:cubicBezTo>
                  <a:pt x="81" y="90"/>
                  <a:pt x="81" y="90"/>
                  <a:pt x="81" y="90"/>
                </a:cubicBezTo>
                <a:cubicBezTo>
                  <a:pt x="82" y="90"/>
                  <a:pt x="82" y="90"/>
                  <a:pt x="82" y="90"/>
                </a:cubicBezTo>
                <a:cubicBezTo>
                  <a:pt x="83" y="90"/>
                  <a:pt x="83" y="90"/>
                  <a:pt x="83" y="90"/>
                </a:cubicBezTo>
                <a:cubicBezTo>
                  <a:pt x="81" y="90"/>
                  <a:pt x="81" y="90"/>
                  <a:pt x="81" y="90"/>
                </a:cubicBezTo>
                <a:cubicBezTo>
                  <a:pt x="82" y="90"/>
                  <a:pt x="82" y="90"/>
                  <a:pt x="82" y="90"/>
                </a:cubicBezTo>
                <a:cubicBezTo>
                  <a:pt x="83" y="90"/>
                  <a:pt x="83" y="90"/>
                  <a:pt x="83" y="90"/>
                </a:cubicBezTo>
                <a:cubicBezTo>
                  <a:pt x="84" y="90"/>
                  <a:pt x="84" y="90"/>
                  <a:pt x="84" y="90"/>
                </a:cubicBezTo>
                <a:cubicBezTo>
                  <a:pt x="85" y="90"/>
                  <a:pt x="85" y="90"/>
                  <a:pt x="85" y="90"/>
                </a:cubicBezTo>
                <a:cubicBezTo>
                  <a:pt x="86" y="90"/>
                  <a:pt x="86" y="90"/>
                  <a:pt x="86" y="90"/>
                </a:cubicBezTo>
                <a:cubicBezTo>
                  <a:pt x="86" y="90"/>
                  <a:pt x="86" y="90"/>
                  <a:pt x="86" y="90"/>
                </a:cubicBezTo>
                <a:cubicBezTo>
                  <a:pt x="87" y="89"/>
                  <a:pt x="87" y="89"/>
                  <a:pt x="87" y="89"/>
                </a:cubicBezTo>
                <a:cubicBezTo>
                  <a:pt x="88" y="89"/>
                  <a:pt x="88" y="89"/>
                  <a:pt x="88" y="89"/>
                </a:cubicBezTo>
                <a:cubicBezTo>
                  <a:pt x="88" y="88"/>
                  <a:pt x="88" y="88"/>
                  <a:pt x="88" y="88"/>
                </a:cubicBezTo>
                <a:cubicBezTo>
                  <a:pt x="89" y="88"/>
                  <a:pt x="89" y="88"/>
                  <a:pt x="89" y="88"/>
                </a:cubicBezTo>
                <a:cubicBezTo>
                  <a:pt x="89" y="87"/>
                  <a:pt x="89" y="87"/>
                  <a:pt x="89" y="87"/>
                </a:cubicBezTo>
                <a:cubicBezTo>
                  <a:pt x="89" y="86"/>
                  <a:pt x="89" y="86"/>
                  <a:pt x="89" y="86"/>
                </a:cubicBezTo>
                <a:cubicBezTo>
                  <a:pt x="89" y="85"/>
                  <a:pt x="89" y="85"/>
                  <a:pt x="89" y="85"/>
                </a:cubicBezTo>
                <a:cubicBezTo>
                  <a:pt x="89" y="84"/>
                  <a:pt x="89" y="84"/>
                  <a:pt x="89" y="84"/>
                </a:cubicBezTo>
                <a:cubicBezTo>
                  <a:pt x="89" y="82"/>
                  <a:pt x="89" y="82"/>
                  <a:pt x="89" y="82"/>
                </a:cubicBezTo>
                <a:cubicBezTo>
                  <a:pt x="89" y="82"/>
                  <a:pt x="89" y="82"/>
                  <a:pt x="89" y="82"/>
                </a:cubicBezTo>
                <a:cubicBezTo>
                  <a:pt x="89" y="81"/>
                  <a:pt x="89" y="81"/>
                  <a:pt x="89" y="81"/>
                </a:cubicBezTo>
                <a:cubicBezTo>
                  <a:pt x="90" y="81"/>
                  <a:pt x="90" y="81"/>
                  <a:pt x="90" y="81"/>
                </a:cubicBezTo>
                <a:cubicBezTo>
                  <a:pt x="90" y="80"/>
                  <a:pt x="90" y="80"/>
                  <a:pt x="90" y="80"/>
                </a:cubicBezTo>
                <a:cubicBezTo>
                  <a:pt x="90" y="80"/>
                  <a:pt x="90" y="80"/>
                  <a:pt x="90" y="80"/>
                </a:cubicBezTo>
                <a:cubicBezTo>
                  <a:pt x="90" y="79"/>
                  <a:pt x="90" y="79"/>
                  <a:pt x="90" y="79"/>
                </a:cubicBezTo>
                <a:cubicBezTo>
                  <a:pt x="91" y="79"/>
                  <a:pt x="91" y="79"/>
                  <a:pt x="91" y="79"/>
                </a:cubicBezTo>
                <a:cubicBezTo>
                  <a:pt x="91" y="78"/>
                  <a:pt x="91" y="78"/>
                  <a:pt x="91" y="78"/>
                </a:cubicBezTo>
                <a:cubicBezTo>
                  <a:pt x="91" y="78"/>
                  <a:pt x="91" y="78"/>
                  <a:pt x="91" y="78"/>
                </a:cubicBezTo>
                <a:cubicBezTo>
                  <a:pt x="91" y="77"/>
                  <a:pt x="91" y="77"/>
                  <a:pt x="91" y="77"/>
                </a:cubicBezTo>
                <a:cubicBezTo>
                  <a:pt x="90" y="77"/>
                  <a:pt x="90" y="77"/>
                  <a:pt x="90" y="77"/>
                </a:cubicBezTo>
                <a:cubicBezTo>
                  <a:pt x="90" y="76"/>
                  <a:pt x="90" y="76"/>
                  <a:pt x="90" y="76"/>
                </a:cubicBezTo>
                <a:cubicBezTo>
                  <a:pt x="90" y="76"/>
                  <a:pt x="90" y="76"/>
                  <a:pt x="90" y="76"/>
                </a:cubicBezTo>
                <a:cubicBezTo>
                  <a:pt x="89" y="75"/>
                  <a:pt x="89" y="75"/>
                  <a:pt x="89" y="75"/>
                </a:cubicBezTo>
                <a:cubicBezTo>
                  <a:pt x="89" y="75"/>
                  <a:pt x="89" y="75"/>
                  <a:pt x="89" y="75"/>
                </a:cubicBezTo>
                <a:cubicBezTo>
                  <a:pt x="88" y="75"/>
                  <a:pt x="88" y="75"/>
                  <a:pt x="88" y="75"/>
                </a:cubicBezTo>
                <a:cubicBezTo>
                  <a:pt x="89" y="74"/>
                  <a:pt x="89" y="74"/>
                  <a:pt x="89" y="74"/>
                </a:cubicBezTo>
                <a:cubicBezTo>
                  <a:pt x="89" y="74"/>
                  <a:pt x="89" y="74"/>
                  <a:pt x="89" y="74"/>
                </a:cubicBezTo>
                <a:cubicBezTo>
                  <a:pt x="90" y="73"/>
                  <a:pt x="90" y="73"/>
                  <a:pt x="90" y="73"/>
                </a:cubicBezTo>
                <a:cubicBezTo>
                  <a:pt x="90" y="73"/>
                  <a:pt x="90" y="73"/>
                  <a:pt x="90" y="73"/>
                </a:cubicBezTo>
                <a:cubicBezTo>
                  <a:pt x="91" y="72"/>
                  <a:pt x="91" y="72"/>
                  <a:pt x="91" y="72"/>
                </a:cubicBezTo>
                <a:cubicBezTo>
                  <a:pt x="91" y="72"/>
                  <a:pt x="91" y="72"/>
                  <a:pt x="91" y="72"/>
                </a:cubicBezTo>
                <a:cubicBezTo>
                  <a:pt x="91" y="71"/>
                  <a:pt x="91" y="71"/>
                  <a:pt x="91" y="71"/>
                </a:cubicBezTo>
                <a:cubicBezTo>
                  <a:pt x="91" y="71"/>
                  <a:pt x="91" y="71"/>
                  <a:pt x="91" y="71"/>
                </a:cubicBezTo>
                <a:cubicBezTo>
                  <a:pt x="90" y="69"/>
                  <a:pt x="90" y="69"/>
                  <a:pt x="90" y="69"/>
                </a:cubicBezTo>
                <a:cubicBezTo>
                  <a:pt x="90" y="67"/>
                  <a:pt x="90" y="67"/>
                  <a:pt x="90" y="67"/>
                </a:cubicBezTo>
                <a:cubicBezTo>
                  <a:pt x="90" y="66"/>
                  <a:pt x="90" y="66"/>
                  <a:pt x="90" y="66"/>
                </a:cubicBezTo>
                <a:cubicBezTo>
                  <a:pt x="90" y="64"/>
                  <a:pt x="90" y="64"/>
                  <a:pt x="90" y="64"/>
                </a:cubicBezTo>
                <a:cubicBezTo>
                  <a:pt x="91" y="64"/>
                  <a:pt x="91" y="64"/>
                  <a:pt x="91" y="64"/>
                </a:cubicBezTo>
                <a:cubicBezTo>
                  <a:pt x="92" y="63"/>
                  <a:pt x="92" y="63"/>
                  <a:pt x="92" y="63"/>
                </a:cubicBezTo>
                <a:cubicBezTo>
                  <a:pt x="92" y="63"/>
                  <a:pt x="92" y="63"/>
                  <a:pt x="92" y="63"/>
                </a:cubicBezTo>
                <a:cubicBezTo>
                  <a:pt x="93" y="63"/>
                  <a:pt x="93" y="63"/>
                  <a:pt x="93" y="63"/>
                </a:cubicBezTo>
                <a:cubicBezTo>
                  <a:pt x="93" y="62"/>
                  <a:pt x="93" y="62"/>
                  <a:pt x="93" y="62"/>
                </a:cubicBezTo>
                <a:cubicBezTo>
                  <a:pt x="94" y="62"/>
                  <a:pt x="94" y="62"/>
                  <a:pt x="94" y="62"/>
                </a:cubicBezTo>
                <a:cubicBezTo>
                  <a:pt x="94" y="61"/>
                  <a:pt x="94" y="61"/>
                  <a:pt x="94" y="61"/>
                </a:cubicBezTo>
                <a:close/>
                <a:moveTo>
                  <a:pt x="33" y="44"/>
                </a:moveTo>
                <a:cubicBezTo>
                  <a:pt x="32" y="46"/>
                  <a:pt x="32" y="46"/>
                  <a:pt x="32" y="46"/>
                </a:cubicBezTo>
                <a:cubicBezTo>
                  <a:pt x="32" y="46"/>
                  <a:pt x="29" y="46"/>
                  <a:pt x="29" y="46"/>
                </a:cubicBezTo>
                <a:cubicBezTo>
                  <a:pt x="28" y="46"/>
                  <a:pt x="28" y="46"/>
                  <a:pt x="28" y="46"/>
                </a:cubicBezTo>
                <a:cubicBezTo>
                  <a:pt x="28" y="46"/>
                  <a:pt x="28" y="49"/>
                  <a:pt x="28" y="49"/>
                </a:cubicBezTo>
                <a:cubicBezTo>
                  <a:pt x="25" y="50"/>
                  <a:pt x="25" y="50"/>
                  <a:pt x="25" y="50"/>
                </a:cubicBezTo>
                <a:cubicBezTo>
                  <a:pt x="25" y="50"/>
                  <a:pt x="24" y="47"/>
                  <a:pt x="24" y="47"/>
                </a:cubicBezTo>
                <a:cubicBezTo>
                  <a:pt x="22" y="47"/>
                  <a:pt x="22" y="47"/>
                  <a:pt x="22" y="47"/>
                </a:cubicBezTo>
                <a:cubicBezTo>
                  <a:pt x="22" y="47"/>
                  <a:pt x="20" y="49"/>
                  <a:pt x="20" y="49"/>
                </a:cubicBezTo>
                <a:cubicBezTo>
                  <a:pt x="18" y="48"/>
                  <a:pt x="18" y="48"/>
                  <a:pt x="18" y="48"/>
                </a:cubicBezTo>
                <a:cubicBezTo>
                  <a:pt x="18" y="48"/>
                  <a:pt x="19" y="45"/>
                  <a:pt x="19" y="45"/>
                </a:cubicBezTo>
                <a:cubicBezTo>
                  <a:pt x="18" y="44"/>
                  <a:pt x="18" y="44"/>
                  <a:pt x="18" y="44"/>
                </a:cubicBezTo>
                <a:cubicBezTo>
                  <a:pt x="18" y="44"/>
                  <a:pt x="15" y="43"/>
                  <a:pt x="15" y="43"/>
                </a:cubicBezTo>
                <a:cubicBezTo>
                  <a:pt x="14" y="41"/>
                  <a:pt x="14" y="41"/>
                  <a:pt x="14" y="41"/>
                </a:cubicBezTo>
                <a:cubicBezTo>
                  <a:pt x="14" y="41"/>
                  <a:pt x="17" y="39"/>
                  <a:pt x="17" y="39"/>
                </a:cubicBezTo>
                <a:cubicBezTo>
                  <a:pt x="17" y="38"/>
                  <a:pt x="17" y="38"/>
                  <a:pt x="17" y="38"/>
                </a:cubicBezTo>
                <a:cubicBezTo>
                  <a:pt x="17" y="38"/>
                  <a:pt x="15" y="36"/>
                  <a:pt x="15" y="36"/>
                </a:cubicBezTo>
                <a:cubicBezTo>
                  <a:pt x="16" y="34"/>
                  <a:pt x="16" y="34"/>
                  <a:pt x="16" y="34"/>
                </a:cubicBezTo>
                <a:cubicBezTo>
                  <a:pt x="16" y="34"/>
                  <a:pt x="19" y="34"/>
                  <a:pt x="19" y="34"/>
                </a:cubicBezTo>
                <a:cubicBezTo>
                  <a:pt x="20" y="33"/>
                  <a:pt x="20" y="33"/>
                  <a:pt x="20" y="33"/>
                </a:cubicBezTo>
                <a:cubicBezTo>
                  <a:pt x="20" y="33"/>
                  <a:pt x="21" y="31"/>
                  <a:pt x="21" y="31"/>
                </a:cubicBezTo>
                <a:cubicBezTo>
                  <a:pt x="23" y="30"/>
                  <a:pt x="23" y="30"/>
                  <a:pt x="23" y="30"/>
                </a:cubicBezTo>
                <a:cubicBezTo>
                  <a:pt x="23" y="30"/>
                  <a:pt x="25" y="32"/>
                  <a:pt x="25" y="32"/>
                </a:cubicBezTo>
                <a:cubicBezTo>
                  <a:pt x="26" y="33"/>
                  <a:pt x="26" y="33"/>
                  <a:pt x="26" y="33"/>
                </a:cubicBezTo>
                <a:cubicBezTo>
                  <a:pt x="26" y="33"/>
                  <a:pt x="28" y="31"/>
                  <a:pt x="28" y="31"/>
                </a:cubicBezTo>
                <a:cubicBezTo>
                  <a:pt x="30" y="32"/>
                  <a:pt x="30" y="32"/>
                  <a:pt x="30" y="32"/>
                </a:cubicBezTo>
                <a:cubicBezTo>
                  <a:pt x="30" y="32"/>
                  <a:pt x="30" y="35"/>
                  <a:pt x="30" y="35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3" y="36"/>
                  <a:pt x="33" y="37"/>
                </a:cubicBezTo>
                <a:cubicBezTo>
                  <a:pt x="34" y="39"/>
                  <a:pt x="34" y="39"/>
                  <a:pt x="34" y="39"/>
                </a:cubicBezTo>
                <a:cubicBezTo>
                  <a:pt x="34" y="39"/>
                  <a:pt x="32" y="40"/>
                  <a:pt x="32" y="40"/>
                </a:cubicBezTo>
                <a:cubicBezTo>
                  <a:pt x="31" y="42"/>
                  <a:pt x="31" y="42"/>
                  <a:pt x="31" y="42"/>
                </a:cubicBezTo>
                <a:cubicBezTo>
                  <a:pt x="31" y="42"/>
                  <a:pt x="33" y="44"/>
                  <a:pt x="33" y="44"/>
                </a:cubicBezTo>
                <a:close/>
                <a:moveTo>
                  <a:pt x="73" y="32"/>
                </a:moveTo>
                <a:cubicBezTo>
                  <a:pt x="73" y="32"/>
                  <a:pt x="73" y="32"/>
                  <a:pt x="73" y="32"/>
                </a:cubicBezTo>
                <a:cubicBezTo>
                  <a:pt x="73" y="33"/>
                  <a:pt x="67" y="35"/>
                  <a:pt x="67" y="35"/>
                </a:cubicBezTo>
                <a:cubicBezTo>
                  <a:pt x="66" y="37"/>
                  <a:pt x="66" y="37"/>
                  <a:pt x="66" y="37"/>
                </a:cubicBezTo>
                <a:cubicBezTo>
                  <a:pt x="66" y="37"/>
                  <a:pt x="69" y="43"/>
                  <a:pt x="68" y="43"/>
                </a:cubicBezTo>
                <a:cubicBezTo>
                  <a:pt x="65" y="46"/>
                  <a:pt x="65" y="46"/>
                  <a:pt x="65" y="46"/>
                </a:cubicBezTo>
                <a:cubicBezTo>
                  <a:pt x="65" y="46"/>
                  <a:pt x="59" y="44"/>
                  <a:pt x="59" y="44"/>
                </a:cubicBezTo>
                <a:cubicBezTo>
                  <a:pt x="57" y="45"/>
                  <a:pt x="57" y="45"/>
                  <a:pt x="57" y="45"/>
                </a:cubicBezTo>
                <a:cubicBezTo>
                  <a:pt x="57" y="45"/>
                  <a:pt x="55" y="50"/>
                  <a:pt x="54" y="50"/>
                </a:cubicBezTo>
                <a:cubicBezTo>
                  <a:pt x="50" y="50"/>
                  <a:pt x="50" y="50"/>
                  <a:pt x="50" y="50"/>
                </a:cubicBezTo>
                <a:cubicBezTo>
                  <a:pt x="49" y="50"/>
                  <a:pt x="47" y="45"/>
                  <a:pt x="47" y="45"/>
                </a:cubicBezTo>
                <a:cubicBezTo>
                  <a:pt x="45" y="44"/>
                  <a:pt x="45" y="44"/>
                  <a:pt x="45" y="44"/>
                </a:cubicBezTo>
                <a:cubicBezTo>
                  <a:pt x="45" y="44"/>
                  <a:pt x="39" y="46"/>
                  <a:pt x="39" y="46"/>
                </a:cubicBezTo>
                <a:cubicBezTo>
                  <a:pt x="36" y="43"/>
                  <a:pt x="36" y="43"/>
                  <a:pt x="36" y="43"/>
                </a:cubicBezTo>
                <a:cubicBezTo>
                  <a:pt x="36" y="43"/>
                  <a:pt x="38" y="37"/>
                  <a:pt x="38" y="37"/>
                </a:cubicBezTo>
                <a:cubicBezTo>
                  <a:pt x="37" y="35"/>
                  <a:pt x="37" y="35"/>
                  <a:pt x="37" y="35"/>
                </a:cubicBezTo>
                <a:cubicBezTo>
                  <a:pt x="37" y="35"/>
                  <a:pt x="31" y="32"/>
                  <a:pt x="31" y="32"/>
                </a:cubicBezTo>
                <a:cubicBezTo>
                  <a:pt x="31" y="28"/>
                  <a:pt x="31" y="28"/>
                  <a:pt x="31" y="28"/>
                </a:cubicBezTo>
                <a:cubicBezTo>
                  <a:pt x="31" y="27"/>
                  <a:pt x="37" y="25"/>
                  <a:pt x="37" y="25"/>
                </a:cubicBezTo>
                <a:cubicBezTo>
                  <a:pt x="38" y="23"/>
                  <a:pt x="38" y="23"/>
                  <a:pt x="38" y="23"/>
                </a:cubicBezTo>
                <a:cubicBezTo>
                  <a:pt x="38" y="23"/>
                  <a:pt x="36" y="17"/>
                  <a:pt x="36" y="17"/>
                </a:cubicBezTo>
                <a:cubicBezTo>
                  <a:pt x="39" y="14"/>
                  <a:pt x="39" y="14"/>
                  <a:pt x="39" y="14"/>
                </a:cubicBezTo>
                <a:cubicBezTo>
                  <a:pt x="39" y="14"/>
                  <a:pt x="45" y="16"/>
                  <a:pt x="45" y="16"/>
                </a:cubicBezTo>
                <a:cubicBezTo>
                  <a:pt x="47" y="15"/>
                  <a:pt x="47" y="15"/>
                  <a:pt x="47" y="15"/>
                </a:cubicBezTo>
                <a:cubicBezTo>
                  <a:pt x="47" y="15"/>
                  <a:pt x="50" y="10"/>
                  <a:pt x="50" y="10"/>
                </a:cubicBezTo>
                <a:cubicBezTo>
                  <a:pt x="55" y="10"/>
                  <a:pt x="55" y="10"/>
                  <a:pt x="55" y="10"/>
                </a:cubicBezTo>
                <a:cubicBezTo>
                  <a:pt x="55" y="10"/>
                  <a:pt x="57" y="15"/>
                  <a:pt x="57" y="15"/>
                </a:cubicBezTo>
                <a:cubicBezTo>
                  <a:pt x="59" y="16"/>
                  <a:pt x="59" y="16"/>
                  <a:pt x="59" y="16"/>
                </a:cubicBezTo>
                <a:cubicBezTo>
                  <a:pt x="59" y="16"/>
                  <a:pt x="65" y="14"/>
                  <a:pt x="65" y="14"/>
                </a:cubicBezTo>
                <a:cubicBezTo>
                  <a:pt x="69" y="17"/>
                  <a:pt x="69" y="17"/>
                  <a:pt x="69" y="17"/>
                </a:cubicBezTo>
                <a:cubicBezTo>
                  <a:pt x="69" y="18"/>
                  <a:pt x="66" y="23"/>
                  <a:pt x="66" y="23"/>
                </a:cubicBezTo>
                <a:cubicBezTo>
                  <a:pt x="67" y="25"/>
                  <a:pt x="67" y="25"/>
                  <a:pt x="67" y="25"/>
                </a:cubicBezTo>
                <a:cubicBezTo>
                  <a:pt x="67" y="25"/>
                  <a:pt x="73" y="28"/>
                  <a:pt x="73" y="28"/>
                </a:cubicBezTo>
                <a:cubicBezTo>
                  <a:pt x="73" y="32"/>
                  <a:pt x="73" y="32"/>
                  <a:pt x="73" y="3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组合 63"/>
          <p:cNvGrpSpPr/>
          <p:nvPr/>
        </p:nvGrpSpPr>
        <p:grpSpPr>
          <a:xfrm>
            <a:off x="660401" y="1462204"/>
            <a:ext cx="10858500" cy="4179857"/>
            <a:chOff x="660400" y="1938454"/>
            <a:chExt cx="10858500" cy="4179856"/>
          </a:xfrm>
        </p:grpSpPr>
        <p:sp>
          <p:nvSpPr>
            <p:cNvPr id="7" name="任意多边形: 形状 6"/>
            <p:cNvSpPr/>
            <p:nvPr/>
          </p:nvSpPr>
          <p:spPr bwMode="auto">
            <a:xfrm rot="18204882" flipH="1">
              <a:off x="4216584" y="2591447"/>
              <a:ext cx="2174286" cy="1054528"/>
            </a:xfrm>
            <a:custGeom>
              <a:avLst/>
              <a:gdLst>
                <a:gd name="T0" fmla="*/ 13 w 241"/>
                <a:gd name="T1" fmla="*/ 117 h 117"/>
                <a:gd name="T2" fmla="*/ 103 w 241"/>
                <a:gd name="T3" fmla="*/ 104 h 117"/>
                <a:gd name="T4" fmla="*/ 76 w 241"/>
                <a:gd name="T5" fmla="*/ 84 h 117"/>
                <a:gd name="T6" fmla="*/ 152 w 241"/>
                <a:gd name="T7" fmla="*/ 58 h 117"/>
                <a:gd name="T8" fmla="*/ 204 w 241"/>
                <a:gd name="T9" fmla="*/ 70 h 117"/>
                <a:gd name="T10" fmla="*/ 205 w 241"/>
                <a:gd name="T11" fmla="*/ 71 h 117"/>
                <a:gd name="T12" fmla="*/ 200 w 241"/>
                <a:gd name="T13" fmla="*/ 32 h 117"/>
                <a:gd name="T14" fmla="*/ 241 w 241"/>
                <a:gd name="T15" fmla="*/ 26 h 117"/>
                <a:gd name="T16" fmla="*/ 228 w 241"/>
                <a:gd name="T17" fmla="*/ 19 h 117"/>
                <a:gd name="T18" fmla="*/ 137 w 241"/>
                <a:gd name="T19" fmla="*/ 2 h 117"/>
                <a:gd name="T20" fmla="*/ 29 w 241"/>
                <a:gd name="T21" fmla="*/ 49 h 117"/>
                <a:gd name="T22" fmla="*/ 0 w 241"/>
                <a:gd name="T23" fmla="*/ 27 h 117"/>
                <a:gd name="T24" fmla="*/ 13 w 241"/>
                <a:gd name="T25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1" h="117">
                  <a:moveTo>
                    <a:pt x="13" y="117"/>
                  </a:moveTo>
                  <a:cubicBezTo>
                    <a:pt x="103" y="104"/>
                    <a:pt x="103" y="104"/>
                    <a:pt x="103" y="10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97" y="67"/>
                    <a:pt x="124" y="58"/>
                    <a:pt x="152" y="58"/>
                  </a:cubicBezTo>
                  <a:cubicBezTo>
                    <a:pt x="169" y="58"/>
                    <a:pt x="187" y="62"/>
                    <a:pt x="204" y="70"/>
                  </a:cubicBezTo>
                  <a:cubicBezTo>
                    <a:pt x="205" y="70"/>
                    <a:pt x="205" y="70"/>
                    <a:pt x="205" y="71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41" y="26"/>
                    <a:pt x="241" y="26"/>
                    <a:pt x="241" y="26"/>
                  </a:cubicBezTo>
                  <a:cubicBezTo>
                    <a:pt x="237" y="24"/>
                    <a:pt x="233" y="21"/>
                    <a:pt x="228" y="19"/>
                  </a:cubicBezTo>
                  <a:cubicBezTo>
                    <a:pt x="199" y="5"/>
                    <a:pt x="168" y="0"/>
                    <a:pt x="137" y="2"/>
                  </a:cubicBezTo>
                  <a:cubicBezTo>
                    <a:pt x="97" y="6"/>
                    <a:pt x="59" y="22"/>
                    <a:pt x="29" y="49"/>
                  </a:cubicBezTo>
                  <a:cubicBezTo>
                    <a:pt x="0" y="27"/>
                    <a:pt x="0" y="27"/>
                    <a:pt x="0" y="27"/>
                  </a:cubicBezTo>
                  <a:lnTo>
                    <a:pt x="13" y="117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108000" tIns="108000" rIns="108000" bIns="108000" rtlCol="0" anchor="ctr" anchorCtr="0">
              <a:noAutofit/>
            </a:bodyPr>
            <a:lstStyle/>
            <a:p>
              <a:pPr algn="ctr"/>
              <a:endParaRPr kumimoji="1" lang="zh-CN" alt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任意多边形: 形状 7"/>
            <p:cNvSpPr/>
            <p:nvPr/>
          </p:nvSpPr>
          <p:spPr bwMode="auto">
            <a:xfrm rot="18204882" flipH="1">
              <a:off x="6396855" y="2096449"/>
              <a:ext cx="1054529" cy="2174285"/>
            </a:xfrm>
            <a:custGeom>
              <a:avLst/>
              <a:gdLst>
                <a:gd name="T0" fmla="*/ 117 w 117"/>
                <a:gd name="T1" fmla="*/ 228 h 241"/>
                <a:gd name="T2" fmla="*/ 104 w 117"/>
                <a:gd name="T3" fmla="*/ 139 h 241"/>
                <a:gd name="T4" fmla="*/ 83 w 117"/>
                <a:gd name="T5" fmla="*/ 166 h 241"/>
                <a:gd name="T6" fmla="*/ 58 w 117"/>
                <a:gd name="T7" fmla="*/ 99 h 241"/>
                <a:gd name="T8" fmla="*/ 70 w 117"/>
                <a:gd name="T9" fmla="*/ 37 h 241"/>
                <a:gd name="T10" fmla="*/ 70 w 117"/>
                <a:gd name="T11" fmla="*/ 36 h 241"/>
                <a:gd name="T12" fmla="*/ 31 w 117"/>
                <a:gd name="T13" fmla="*/ 42 h 241"/>
                <a:gd name="T14" fmla="*/ 26 w 117"/>
                <a:gd name="T15" fmla="*/ 0 h 241"/>
                <a:gd name="T16" fmla="*/ 19 w 117"/>
                <a:gd name="T17" fmla="*/ 13 h 241"/>
                <a:gd name="T18" fmla="*/ 2 w 117"/>
                <a:gd name="T19" fmla="*/ 102 h 241"/>
                <a:gd name="T20" fmla="*/ 49 w 117"/>
                <a:gd name="T21" fmla="*/ 212 h 241"/>
                <a:gd name="T22" fmla="*/ 27 w 117"/>
                <a:gd name="T23" fmla="*/ 241 h 241"/>
                <a:gd name="T24" fmla="*/ 117 w 117"/>
                <a:gd name="T25" fmla="*/ 228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7" h="241">
                  <a:moveTo>
                    <a:pt x="117" y="228"/>
                  </a:moveTo>
                  <a:cubicBezTo>
                    <a:pt x="104" y="139"/>
                    <a:pt x="104" y="139"/>
                    <a:pt x="104" y="139"/>
                  </a:cubicBezTo>
                  <a:cubicBezTo>
                    <a:pt x="83" y="166"/>
                    <a:pt x="83" y="166"/>
                    <a:pt x="83" y="166"/>
                  </a:cubicBezTo>
                  <a:cubicBezTo>
                    <a:pt x="69" y="146"/>
                    <a:pt x="60" y="123"/>
                    <a:pt x="58" y="99"/>
                  </a:cubicBezTo>
                  <a:cubicBezTo>
                    <a:pt x="57" y="78"/>
                    <a:pt x="60" y="57"/>
                    <a:pt x="70" y="37"/>
                  </a:cubicBezTo>
                  <a:cubicBezTo>
                    <a:pt x="70" y="37"/>
                    <a:pt x="70" y="37"/>
                    <a:pt x="70" y="36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3" y="5"/>
                    <a:pt x="21" y="9"/>
                    <a:pt x="19" y="13"/>
                  </a:cubicBezTo>
                  <a:cubicBezTo>
                    <a:pt x="5" y="42"/>
                    <a:pt x="0" y="73"/>
                    <a:pt x="2" y="102"/>
                  </a:cubicBezTo>
                  <a:cubicBezTo>
                    <a:pt x="5" y="143"/>
                    <a:pt x="21" y="182"/>
                    <a:pt x="49" y="212"/>
                  </a:cubicBezTo>
                  <a:cubicBezTo>
                    <a:pt x="27" y="241"/>
                    <a:pt x="27" y="241"/>
                    <a:pt x="27" y="241"/>
                  </a:cubicBezTo>
                  <a:lnTo>
                    <a:pt x="117" y="228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</p:spPr>
          <p:txBody>
            <a:bodyPr wrap="none" lIns="108000" tIns="108000" rIns="108000" bIns="108000" rtlCol="0" anchor="ctr" anchorCtr="0">
              <a:noAutofit/>
            </a:bodyPr>
            <a:lstStyle/>
            <a:p>
              <a:pPr algn="ctr"/>
              <a:endParaRPr kumimoji="1" lang="zh-CN" altLang="en-US" sz="1200" b="1">
                <a:solidFill>
                  <a:srgbClr val="FFFFFF"/>
                </a:solidFill>
              </a:endParaRPr>
            </a:p>
          </p:txBody>
        </p:sp>
        <p:sp>
          <p:nvSpPr>
            <p:cNvPr id="9" name="任意多边形: 形状 8"/>
            <p:cNvSpPr/>
            <p:nvPr/>
          </p:nvSpPr>
          <p:spPr bwMode="auto">
            <a:xfrm rot="18204882" flipH="1">
              <a:off x="5783892" y="4279069"/>
              <a:ext cx="2174286" cy="1065399"/>
            </a:xfrm>
            <a:custGeom>
              <a:avLst/>
              <a:gdLst>
                <a:gd name="T0" fmla="*/ 241 w 241"/>
                <a:gd name="T1" fmla="*/ 90 h 118"/>
                <a:gd name="T2" fmla="*/ 228 w 241"/>
                <a:gd name="T3" fmla="*/ 0 h 118"/>
                <a:gd name="T4" fmla="*/ 138 w 241"/>
                <a:gd name="T5" fmla="*/ 13 h 118"/>
                <a:gd name="T6" fmla="*/ 165 w 241"/>
                <a:gd name="T7" fmla="*/ 33 h 118"/>
                <a:gd name="T8" fmla="*/ 96 w 241"/>
                <a:gd name="T9" fmla="*/ 59 h 118"/>
                <a:gd name="T10" fmla="*/ 37 w 241"/>
                <a:gd name="T11" fmla="*/ 47 h 118"/>
                <a:gd name="T12" fmla="*/ 36 w 241"/>
                <a:gd name="T13" fmla="*/ 46 h 118"/>
                <a:gd name="T14" fmla="*/ 42 w 241"/>
                <a:gd name="T15" fmla="*/ 85 h 118"/>
                <a:gd name="T16" fmla="*/ 0 w 241"/>
                <a:gd name="T17" fmla="*/ 91 h 118"/>
                <a:gd name="T18" fmla="*/ 13 w 241"/>
                <a:gd name="T19" fmla="*/ 98 h 118"/>
                <a:gd name="T20" fmla="*/ 112 w 241"/>
                <a:gd name="T21" fmla="*/ 114 h 118"/>
                <a:gd name="T22" fmla="*/ 212 w 241"/>
                <a:gd name="T23" fmla="*/ 68 h 118"/>
                <a:gd name="T24" fmla="*/ 241 w 241"/>
                <a:gd name="T25" fmla="*/ 9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1" h="118">
                  <a:moveTo>
                    <a:pt x="241" y="90"/>
                  </a:moveTo>
                  <a:cubicBezTo>
                    <a:pt x="228" y="0"/>
                    <a:pt x="228" y="0"/>
                    <a:pt x="228" y="0"/>
                  </a:cubicBezTo>
                  <a:cubicBezTo>
                    <a:pt x="138" y="13"/>
                    <a:pt x="138" y="13"/>
                    <a:pt x="138" y="13"/>
                  </a:cubicBezTo>
                  <a:cubicBezTo>
                    <a:pt x="165" y="33"/>
                    <a:pt x="165" y="33"/>
                    <a:pt x="165" y="33"/>
                  </a:cubicBezTo>
                  <a:cubicBezTo>
                    <a:pt x="145" y="48"/>
                    <a:pt x="121" y="57"/>
                    <a:pt x="96" y="59"/>
                  </a:cubicBezTo>
                  <a:cubicBezTo>
                    <a:pt x="76" y="60"/>
                    <a:pt x="56" y="56"/>
                    <a:pt x="37" y="47"/>
                  </a:cubicBezTo>
                  <a:cubicBezTo>
                    <a:pt x="36" y="47"/>
                    <a:pt x="36" y="47"/>
                    <a:pt x="36" y="46"/>
                  </a:cubicBezTo>
                  <a:cubicBezTo>
                    <a:pt x="42" y="85"/>
                    <a:pt x="42" y="85"/>
                    <a:pt x="42" y="85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4" y="93"/>
                    <a:pt x="8" y="96"/>
                    <a:pt x="13" y="98"/>
                  </a:cubicBezTo>
                  <a:cubicBezTo>
                    <a:pt x="45" y="113"/>
                    <a:pt x="79" y="118"/>
                    <a:pt x="112" y="114"/>
                  </a:cubicBezTo>
                  <a:cubicBezTo>
                    <a:pt x="149" y="109"/>
                    <a:pt x="184" y="93"/>
                    <a:pt x="212" y="68"/>
                  </a:cubicBezTo>
                  <a:lnTo>
                    <a:pt x="241" y="9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</p:spPr>
          <p:txBody>
            <a:bodyPr wrap="none" lIns="108000" tIns="108000" rIns="108000" bIns="108000" rtlCol="0" anchor="ctr" anchorCtr="0">
              <a:noAutofit/>
            </a:bodyPr>
            <a:lstStyle/>
            <a:p>
              <a:pPr algn="ctr"/>
              <a:endParaRPr kumimoji="1" lang="zh-CN" alt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任意多边形: 形状 9"/>
            <p:cNvSpPr/>
            <p:nvPr/>
          </p:nvSpPr>
          <p:spPr bwMode="auto">
            <a:xfrm rot="18204882" flipH="1">
              <a:off x="4715212" y="3658707"/>
              <a:ext cx="1054529" cy="2165587"/>
            </a:xfrm>
            <a:custGeom>
              <a:avLst/>
              <a:gdLst>
                <a:gd name="T0" fmla="*/ 0 w 117"/>
                <a:gd name="T1" fmla="*/ 13 h 240"/>
                <a:gd name="T2" fmla="*/ 13 w 117"/>
                <a:gd name="T3" fmla="*/ 102 h 240"/>
                <a:gd name="T4" fmla="*/ 34 w 117"/>
                <a:gd name="T5" fmla="*/ 75 h 240"/>
                <a:gd name="T6" fmla="*/ 59 w 117"/>
                <a:gd name="T7" fmla="*/ 143 h 240"/>
                <a:gd name="T8" fmla="*/ 47 w 117"/>
                <a:gd name="T9" fmla="*/ 204 h 240"/>
                <a:gd name="T10" fmla="*/ 47 w 117"/>
                <a:gd name="T11" fmla="*/ 205 h 240"/>
                <a:gd name="T12" fmla="*/ 86 w 117"/>
                <a:gd name="T13" fmla="*/ 199 h 240"/>
                <a:gd name="T14" fmla="*/ 92 w 117"/>
                <a:gd name="T15" fmla="*/ 240 h 240"/>
                <a:gd name="T16" fmla="*/ 98 w 117"/>
                <a:gd name="T17" fmla="*/ 228 h 240"/>
                <a:gd name="T18" fmla="*/ 115 w 117"/>
                <a:gd name="T19" fmla="*/ 139 h 240"/>
                <a:gd name="T20" fmla="*/ 68 w 117"/>
                <a:gd name="T21" fmla="*/ 29 h 240"/>
                <a:gd name="T22" fmla="*/ 90 w 117"/>
                <a:gd name="T23" fmla="*/ 0 h 240"/>
                <a:gd name="T24" fmla="*/ 0 w 117"/>
                <a:gd name="T25" fmla="*/ 1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7" h="240">
                  <a:moveTo>
                    <a:pt x="0" y="13"/>
                  </a:moveTo>
                  <a:cubicBezTo>
                    <a:pt x="13" y="102"/>
                    <a:pt x="13" y="102"/>
                    <a:pt x="13" y="102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49" y="95"/>
                    <a:pt x="58" y="118"/>
                    <a:pt x="59" y="143"/>
                  </a:cubicBezTo>
                  <a:cubicBezTo>
                    <a:pt x="60" y="163"/>
                    <a:pt x="57" y="184"/>
                    <a:pt x="47" y="204"/>
                  </a:cubicBezTo>
                  <a:cubicBezTo>
                    <a:pt x="47" y="204"/>
                    <a:pt x="47" y="204"/>
                    <a:pt x="47" y="205"/>
                  </a:cubicBezTo>
                  <a:cubicBezTo>
                    <a:pt x="86" y="199"/>
                    <a:pt x="86" y="199"/>
                    <a:pt x="86" y="199"/>
                  </a:cubicBezTo>
                  <a:cubicBezTo>
                    <a:pt x="92" y="240"/>
                    <a:pt x="92" y="240"/>
                    <a:pt x="92" y="240"/>
                  </a:cubicBezTo>
                  <a:cubicBezTo>
                    <a:pt x="94" y="236"/>
                    <a:pt x="96" y="232"/>
                    <a:pt x="98" y="228"/>
                  </a:cubicBezTo>
                  <a:cubicBezTo>
                    <a:pt x="112" y="199"/>
                    <a:pt x="117" y="168"/>
                    <a:pt x="115" y="139"/>
                  </a:cubicBezTo>
                  <a:cubicBezTo>
                    <a:pt x="112" y="98"/>
                    <a:pt x="96" y="59"/>
                    <a:pt x="68" y="29"/>
                  </a:cubicBezTo>
                  <a:cubicBezTo>
                    <a:pt x="90" y="0"/>
                    <a:pt x="90" y="0"/>
                    <a:pt x="90" y="0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</p:spPr>
          <p:txBody>
            <a:bodyPr wrap="none" lIns="108000" tIns="108000" rIns="108000" bIns="108000" rtlCol="0" anchor="ctr" anchorCtr="0">
              <a:noAutofit/>
            </a:bodyPr>
            <a:lstStyle/>
            <a:p>
              <a:pPr algn="ctr"/>
              <a:endParaRPr kumimoji="1" lang="zh-CN" altLang="en-US" sz="1200" b="1">
                <a:solidFill>
                  <a:srgbClr val="FFFFFF"/>
                </a:solidFill>
              </a:endParaRPr>
            </a:p>
          </p:txBody>
        </p:sp>
        <p:cxnSp>
          <p:nvCxnSpPr>
            <p:cNvPr id="17" name="直接连接符 16"/>
            <p:cNvCxnSpPr>
              <a:stCxn id="12" idx="1"/>
            </p:cNvCxnSpPr>
            <p:nvPr/>
          </p:nvCxnSpPr>
          <p:spPr>
            <a:xfrm flipH="1" flipV="1">
              <a:off x="4444666" y="2329369"/>
              <a:ext cx="418437" cy="4184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/>
            <p:cNvCxnSpPr/>
            <p:nvPr/>
          </p:nvCxnSpPr>
          <p:spPr>
            <a:xfrm flipH="1">
              <a:off x="3671147" y="2330187"/>
              <a:ext cx="77440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连接符 27"/>
            <p:cNvCxnSpPr>
              <a:stCxn id="27" idx="1"/>
            </p:cNvCxnSpPr>
            <p:nvPr/>
          </p:nvCxnSpPr>
          <p:spPr>
            <a:xfrm flipV="1">
              <a:off x="7274183" y="2329369"/>
              <a:ext cx="418437" cy="418437"/>
            </a:xfrm>
            <a:prstGeom prst="line">
              <a:avLst/>
            </a:prstGeom>
            <a:ln>
              <a:solidFill>
                <a:schemeClr val="accent2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/>
            <p:cNvCxnSpPr/>
            <p:nvPr/>
          </p:nvCxnSpPr>
          <p:spPr>
            <a:xfrm>
              <a:off x="7691738" y="2330187"/>
              <a:ext cx="774401" cy="0"/>
            </a:xfrm>
            <a:prstGeom prst="line">
              <a:avLst/>
            </a:prstGeom>
            <a:ln>
              <a:solidFill>
                <a:schemeClr val="accent2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/>
            <p:cNvCxnSpPr>
              <a:stCxn id="31" idx="1"/>
            </p:cNvCxnSpPr>
            <p:nvPr/>
          </p:nvCxnSpPr>
          <p:spPr>
            <a:xfrm flipH="1">
              <a:off x="4444666" y="5132381"/>
              <a:ext cx="418437" cy="418437"/>
            </a:xfrm>
            <a:prstGeom prst="line">
              <a:avLst/>
            </a:prstGeom>
            <a:ln>
              <a:solidFill>
                <a:schemeClr val="accent2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连接符 32"/>
            <p:cNvCxnSpPr/>
            <p:nvPr/>
          </p:nvCxnSpPr>
          <p:spPr>
            <a:xfrm flipH="1" flipV="1">
              <a:off x="3671147" y="5550000"/>
              <a:ext cx="774401" cy="0"/>
            </a:xfrm>
            <a:prstGeom prst="line">
              <a:avLst/>
            </a:prstGeom>
            <a:ln>
              <a:solidFill>
                <a:schemeClr val="accent2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连接符 35"/>
            <p:cNvCxnSpPr>
              <a:stCxn id="35" idx="1"/>
            </p:cNvCxnSpPr>
            <p:nvPr/>
          </p:nvCxnSpPr>
          <p:spPr>
            <a:xfrm>
              <a:off x="7274183" y="5132381"/>
              <a:ext cx="418437" cy="418437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连接符 36"/>
            <p:cNvCxnSpPr/>
            <p:nvPr/>
          </p:nvCxnSpPr>
          <p:spPr>
            <a:xfrm flipV="1">
              <a:off x="7691738" y="5550000"/>
              <a:ext cx="774401" cy="0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" name="组合 46"/>
            <p:cNvGrpSpPr/>
            <p:nvPr/>
          </p:nvGrpSpPr>
          <p:grpSpPr>
            <a:xfrm>
              <a:off x="660400" y="1938454"/>
              <a:ext cx="6197121" cy="2525486"/>
              <a:chOff x="660400" y="1938454"/>
              <a:chExt cx="6197121" cy="2525486"/>
            </a:xfrm>
          </p:grpSpPr>
          <p:sp>
            <p:nvSpPr>
              <p:cNvPr id="6" name="矩形: 圆角 5"/>
              <p:cNvSpPr/>
              <p:nvPr/>
            </p:nvSpPr>
            <p:spPr>
              <a:xfrm>
                <a:off x="5321778" y="3469533"/>
                <a:ext cx="1535743" cy="994407"/>
              </a:xfrm>
              <a:prstGeom prst="roundRect">
                <a:avLst>
                  <a:gd name="adj" fmla="val 0"/>
                </a:avLst>
              </a:prstGeom>
              <a:noFill/>
              <a:ln w="508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kumimoji="1" lang="zh-CN" altLang="en-US" sz="2800" b="1" dirty="0">
                    <a:solidFill>
                      <a:schemeClr val="tx1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五挑战</a:t>
                </a:r>
                <a:endParaRPr kumimoji="1" lang="zh-CN" altLang="en-US" sz="2800" b="1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12" name="椭圆 11"/>
              <p:cNvSpPr/>
              <p:nvPr/>
            </p:nvSpPr>
            <p:spPr>
              <a:xfrm>
                <a:off x="4840366" y="2725069"/>
                <a:ext cx="155256" cy="155256"/>
              </a:xfrm>
              <a:prstGeom prst="ellipse">
                <a:avLst/>
              </a:prstGeom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3" name="文本框 42"/>
              <p:cNvSpPr txBox="1"/>
              <p:nvPr/>
            </p:nvSpPr>
            <p:spPr>
              <a:xfrm>
                <a:off x="660400" y="1938454"/>
                <a:ext cx="2894619" cy="5985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pPr algn="r"/>
                <a:r>
                  <a:rPr lang="zh-CN" altLang="en-US" b="1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模型应用</a:t>
                </a:r>
                <a:endParaRPr lang="zh-CN" altLang="en-US" b="1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44" name="文本框 43"/>
              <p:cNvSpPr txBox="1"/>
              <p:nvPr/>
            </p:nvSpPr>
            <p:spPr>
              <a:xfrm>
                <a:off x="660400" y="2536996"/>
                <a:ext cx="2894619" cy="6866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zh-CN" altLang="it-IT" sz="1200" b="1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挑战</a:t>
                </a:r>
                <a:r>
                  <a:rPr lang="en-US" altLang="zh-CN" sz="1200" b="1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5</a:t>
                </a:r>
                <a:r>
                  <a:rPr lang="zh-CN" altLang="en-US" sz="120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：</a:t>
                </a:r>
                <a:r>
                  <a:rPr lang="zh-CN" altLang="it-IT" sz="120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风险解释难</a:t>
                </a:r>
                <a:endParaRPr lang="zh-CN" altLang="it-IT" sz="1200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  <p:grpSp>
          <p:nvGrpSpPr>
            <p:cNvPr id="48" name="组合 47"/>
            <p:cNvGrpSpPr/>
            <p:nvPr/>
          </p:nvGrpSpPr>
          <p:grpSpPr>
            <a:xfrm>
              <a:off x="7141664" y="1938454"/>
              <a:ext cx="4377236" cy="1285199"/>
              <a:chOff x="7141664" y="1938454"/>
              <a:chExt cx="4377236" cy="1285199"/>
            </a:xfrm>
          </p:grpSpPr>
          <p:sp>
            <p:nvSpPr>
              <p:cNvPr id="27" name="椭圆 26"/>
              <p:cNvSpPr/>
              <p:nvPr/>
            </p:nvSpPr>
            <p:spPr>
              <a:xfrm flipH="1">
                <a:off x="7141664" y="2725069"/>
                <a:ext cx="155256" cy="155256"/>
              </a:xfrm>
              <a:prstGeom prst="ellipse">
                <a:avLst/>
              </a:prstGeom>
              <a:solidFill>
                <a:schemeClr val="accent2">
                  <a:lumMod val="100000"/>
                </a:schemeClr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9" name="文本框 38"/>
              <p:cNvSpPr txBox="1"/>
              <p:nvPr/>
            </p:nvSpPr>
            <p:spPr>
              <a:xfrm>
                <a:off x="8624281" y="1938454"/>
                <a:ext cx="2894619" cy="5985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r>
                  <a:rPr lang="zh-CN" altLang="en-US" b="1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数据准备</a:t>
                </a:r>
                <a:endParaRPr lang="zh-CN" altLang="en-US" b="1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40" name="文本框 39"/>
              <p:cNvSpPr txBox="1"/>
              <p:nvPr/>
            </p:nvSpPr>
            <p:spPr>
              <a:xfrm>
                <a:off x="8624281" y="2536996"/>
                <a:ext cx="2894619" cy="6866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 lnSpcReduction="20000"/>
              </a:bodyPr>
              <a:lstStyle/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挑战</a:t>
                </a:r>
                <a:r>
                  <a:rPr lang="en-US" altLang="zh-CN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1</a:t>
                </a:r>
                <a:r>
                  <a:rPr lang="zh-CN" altLang="en-US" sz="12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：</a:t>
                </a:r>
                <a:r>
                  <a:rPr lang="zh-CN" altLang="en-US" sz="1200" dirty="0">
                    <a:latin typeface="华文楷体" panose="02010600040101010101" pitchFamily="2" charset="-122"/>
                    <a:ea typeface="华文楷体" panose="02010600040101010101" pitchFamily="2" charset="-122"/>
                    <a:sym typeface="+mn-ea"/>
                  </a:rPr>
                  <a:t>数据不平衡（小样本）</a:t>
                </a:r>
                <a:endPara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endParaRP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挑战</a:t>
                </a:r>
                <a:r>
                  <a:rPr lang="en-US" altLang="zh-CN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2</a:t>
                </a:r>
                <a:r>
                  <a:rPr lang="zh-CN" altLang="en-US" sz="12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：</a:t>
                </a:r>
                <a:r>
                  <a:rPr lang="zh-CN" altLang="en-US" sz="1200" dirty="0">
                    <a:latin typeface="华文楷体" panose="02010600040101010101" pitchFamily="2" charset="-122"/>
                    <a:ea typeface="华文楷体" panose="02010600040101010101" pitchFamily="2" charset="-122"/>
                    <a:sym typeface="+mn-ea"/>
                  </a:rPr>
                  <a:t>线上行为数据少</a:t>
                </a:r>
                <a:endPara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  <p:grpSp>
          <p:nvGrpSpPr>
            <p:cNvPr id="50" name="组合 49"/>
            <p:cNvGrpSpPr/>
            <p:nvPr/>
          </p:nvGrpSpPr>
          <p:grpSpPr>
            <a:xfrm>
              <a:off x="7141664" y="4833111"/>
              <a:ext cx="4377236" cy="1285199"/>
              <a:chOff x="7141664" y="4833111"/>
              <a:chExt cx="4377236" cy="1285199"/>
            </a:xfrm>
          </p:grpSpPr>
          <p:sp>
            <p:nvSpPr>
              <p:cNvPr id="35" name="椭圆 34"/>
              <p:cNvSpPr/>
              <p:nvPr/>
            </p:nvSpPr>
            <p:spPr>
              <a:xfrm flipH="1" flipV="1">
                <a:off x="7141664" y="4999862"/>
                <a:ext cx="155256" cy="155256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文本框 40"/>
              <p:cNvSpPr txBox="1"/>
              <p:nvPr/>
            </p:nvSpPr>
            <p:spPr>
              <a:xfrm>
                <a:off x="8624281" y="4833111"/>
                <a:ext cx="2894619" cy="5985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r>
                  <a:rPr lang="zh-CN" altLang="en-US" b="1">
                    <a:solidFill>
                      <a:schemeClr val="bg1">
                        <a:lumMod val="65000"/>
                      </a:schemeClr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模型训练</a:t>
                </a:r>
                <a:endParaRPr lang="zh-CN" altLang="en-US" b="1" dirty="0">
                  <a:solidFill>
                    <a:schemeClr val="bg1">
                      <a:lumMod val="65000"/>
                    </a:schemeClr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42" name="文本框 41"/>
              <p:cNvSpPr txBox="1"/>
              <p:nvPr/>
            </p:nvSpPr>
            <p:spPr>
              <a:xfrm>
                <a:off x="8624281" y="5431653"/>
                <a:ext cx="2894619" cy="6866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zh-CN" altLang="sv-SE" sz="1200">
                    <a:solidFill>
                      <a:schemeClr val="bg1">
                        <a:lumMod val="65000"/>
                      </a:schemeClr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算法选择</a:t>
                </a:r>
                <a:endParaRPr lang="zh-CN" altLang="sv-SE" sz="1200">
                  <a:solidFill>
                    <a:schemeClr val="bg1">
                      <a:lumMod val="65000"/>
                    </a:schemeClr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zh-CN" altLang="sv-SE" sz="1200" dirty="0">
                    <a:solidFill>
                      <a:schemeClr val="bg1">
                        <a:lumMod val="65000"/>
                      </a:schemeClr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调参</a:t>
                </a:r>
                <a:endParaRPr lang="zh-CN" altLang="sv-SE" sz="1200" dirty="0">
                  <a:solidFill>
                    <a:schemeClr val="bg1">
                      <a:lumMod val="65000"/>
                    </a:schemeClr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  <p:grpSp>
          <p:nvGrpSpPr>
            <p:cNvPr id="49" name="组合 48"/>
            <p:cNvGrpSpPr/>
            <p:nvPr/>
          </p:nvGrpSpPr>
          <p:grpSpPr>
            <a:xfrm>
              <a:off x="660400" y="4833111"/>
              <a:ext cx="4335222" cy="1285199"/>
              <a:chOff x="660400" y="4833111"/>
              <a:chExt cx="4335222" cy="1285199"/>
            </a:xfrm>
          </p:grpSpPr>
          <p:sp>
            <p:nvSpPr>
              <p:cNvPr id="31" name="椭圆 30"/>
              <p:cNvSpPr/>
              <p:nvPr/>
            </p:nvSpPr>
            <p:spPr>
              <a:xfrm flipV="1">
                <a:off x="4840366" y="4999862"/>
                <a:ext cx="155256" cy="155256"/>
              </a:xfrm>
              <a:prstGeom prst="ellipse">
                <a:avLst/>
              </a:prstGeom>
              <a:solidFill>
                <a:schemeClr val="accent2">
                  <a:lumMod val="100000"/>
                </a:schemeClr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5" name="文本框 44"/>
              <p:cNvSpPr txBox="1"/>
              <p:nvPr/>
            </p:nvSpPr>
            <p:spPr>
              <a:xfrm>
                <a:off x="660400" y="4833111"/>
                <a:ext cx="2894619" cy="5985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pPr algn="r"/>
                <a:r>
                  <a:rPr lang="zh-CN" altLang="en-US" b="1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效果验证</a:t>
                </a:r>
                <a:endParaRPr lang="zh-CN" altLang="en-US" b="1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46" name="文本框 45"/>
              <p:cNvSpPr txBox="1"/>
              <p:nvPr/>
            </p:nvSpPr>
            <p:spPr>
              <a:xfrm>
                <a:off x="660400" y="5431653"/>
                <a:ext cx="2894619" cy="6866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zh-CN" altLang="sv-SE" sz="1200" b="1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挑战</a:t>
                </a:r>
                <a:r>
                  <a:rPr lang="en-US" altLang="zh-CN" sz="1200" b="1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3</a:t>
                </a:r>
                <a:r>
                  <a:rPr lang="zh-CN" altLang="en-US" sz="120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：</a:t>
                </a:r>
                <a:r>
                  <a:rPr lang="zh-CN" altLang="sv-SE" sz="120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追踪周期长</a:t>
                </a:r>
                <a:endParaRPr lang="zh-CN" altLang="sv-SE" sz="120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zh-CN" altLang="sv-SE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挑战</a:t>
                </a:r>
                <a:r>
                  <a:rPr lang="en-US" altLang="zh-CN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4</a:t>
                </a:r>
                <a:r>
                  <a:rPr lang="zh-CN" altLang="en-US" sz="12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：</a:t>
                </a:r>
                <a:r>
                  <a:rPr lang="zh-CN" altLang="sv-SE" sz="12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效果验证难</a:t>
                </a:r>
                <a:endParaRPr lang="zh-CN" altLang="sv-SE" sz="1200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</p:grpSp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直面难点：风控模型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“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五挑战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”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赋能场景：数据挖掘在寿险风控场景的应用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C913308-F349-4B6D-A68A-DD1791B4A57B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48" name="椭圆 47"/>
          <p:cNvSpPr/>
          <p:nvPr/>
        </p:nvSpPr>
        <p:spPr>
          <a:xfrm>
            <a:off x="3766735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文本框 48"/>
          <p:cNvSpPr txBox="1"/>
          <p:nvPr/>
        </p:nvSpPr>
        <p:spPr>
          <a:xfrm>
            <a:off x="3205406" y="2911637"/>
            <a:ext cx="1626870" cy="629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投诉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</a:rPr>
              <a:t>：</a:t>
            </a:r>
            <a:r>
              <a:rPr lang="en-US" altLang="zh-CN" sz="1400" smtClean="0">
                <a:latin typeface="楷体" panose="02010609060101010101" pitchFamily="49" charset="-122"/>
                <a:ea typeface="楷体" panose="02010609060101010101" pitchFamily="49" charset="-122"/>
              </a:rPr>
              <a:t>T+0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是否投诉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50" name="椭圆 49"/>
          <p:cNvSpPr/>
          <p:nvPr/>
        </p:nvSpPr>
        <p:spPr>
          <a:xfrm>
            <a:off x="8389087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文本框 50"/>
          <p:cNvSpPr txBox="1"/>
          <p:nvPr/>
        </p:nvSpPr>
        <p:spPr>
          <a:xfrm>
            <a:off x="6885971" y="2241496"/>
            <a:ext cx="1351652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100"/>
              </a:lnSpc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投诉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</a:rPr>
              <a:t>：</a:t>
            </a:r>
            <a:r>
              <a:rPr lang="en-US" altLang="zh-CN" sz="1400" smtClean="0">
                <a:latin typeface="楷体" panose="02010609060101010101" pitchFamily="49" charset="-122"/>
                <a:ea typeface="楷体" panose="02010609060101010101" pitchFamily="49" charset="-122"/>
              </a:rPr>
              <a:t>T+1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是否投诉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52" name="椭圆 51"/>
          <p:cNvSpPr/>
          <p:nvPr/>
        </p:nvSpPr>
        <p:spPr>
          <a:xfrm>
            <a:off x="4384647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文本框 52"/>
          <p:cNvSpPr txBox="1"/>
          <p:nvPr/>
        </p:nvSpPr>
        <p:spPr>
          <a:xfrm>
            <a:off x="4052481" y="2241496"/>
            <a:ext cx="1402080" cy="629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100"/>
              </a:lnSpc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重疾核保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是否需要下发体检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54" name="椭圆 53"/>
          <p:cNvSpPr/>
          <p:nvPr/>
        </p:nvSpPr>
        <p:spPr>
          <a:xfrm>
            <a:off x="5210377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文本框 54"/>
          <p:cNvSpPr txBox="1"/>
          <p:nvPr/>
        </p:nvSpPr>
        <p:spPr>
          <a:xfrm>
            <a:off x="4909893" y="2931030"/>
            <a:ext cx="1800493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100"/>
              </a:lnSpc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体检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投产维度</a:t>
            </a:r>
            <a:r>
              <a:rPr lang="en-US" altLang="zh-CN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-</a:t>
            </a: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下发什么体检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62" name="文本框 61"/>
          <p:cNvSpPr txBox="1"/>
          <p:nvPr/>
        </p:nvSpPr>
        <p:spPr>
          <a:xfrm>
            <a:off x="7683889" y="2931030"/>
            <a:ext cx="1982470" cy="19761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投诉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：</a:t>
            </a:r>
            <a:r>
              <a:rPr lang="en-US" altLang="zh-CN" sz="1400" smtClean="0">
                <a:latin typeface="楷体" panose="02010609060101010101" pitchFamily="49" charset="-122"/>
                <a:ea typeface="楷体" panose="02010609060101010101" pitchFamily="49" charset="-122"/>
              </a:rPr>
              <a:t>T+90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保全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风控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理赔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风控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服</a:t>
            </a: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销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r>
              <a:rPr lang="en-US" altLang="zh-CN" sz="1400" smtClean="0">
                <a:latin typeface="楷体" panose="02010609060101010101" pitchFamily="49" charset="-122"/>
                <a:ea typeface="楷体" panose="02010609060101010101" pitchFamily="49" charset="-122"/>
              </a:rPr>
              <a:t>-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触点经营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黑</a:t>
            </a: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产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反欺诈</a:t>
            </a:r>
            <a:r>
              <a:rPr lang="en-US" altLang="zh-CN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sna</a:t>
            </a:r>
            <a:endParaRPr lang="en-US" altLang="zh-CN" sz="1400" b="1" smtClean="0">
              <a:solidFill>
                <a:srgbClr val="F05A23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承保后</a:t>
            </a: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调查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zh-CN" altLang="en-US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63" name="椭圆 62"/>
          <p:cNvSpPr/>
          <p:nvPr/>
        </p:nvSpPr>
        <p:spPr>
          <a:xfrm>
            <a:off x="7269636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椭圆 63"/>
          <p:cNvSpPr/>
          <p:nvPr/>
        </p:nvSpPr>
        <p:spPr>
          <a:xfrm>
            <a:off x="10561475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文本框 64"/>
          <p:cNvSpPr txBox="1"/>
          <p:nvPr/>
        </p:nvSpPr>
        <p:spPr>
          <a:xfrm>
            <a:off x="10050234" y="2241496"/>
            <a:ext cx="954107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100"/>
              </a:lnSpc>
            </a:pPr>
            <a:r>
              <a:rPr lang="zh-CN" altLang="en-US" sz="1400" b="1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续</a:t>
            </a: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期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是否会续期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cxnSp>
        <p:nvCxnSpPr>
          <p:cNvPr id="67" name="直接连接符 66"/>
          <p:cNvCxnSpPr/>
          <p:nvPr/>
        </p:nvCxnSpPr>
        <p:spPr>
          <a:xfrm>
            <a:off x="3109448" y="2353859"/>
            <a:ext cx="0" cy="237744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接连接符 67"/>
          <p:cNvCxnSpPr/>
          <p:nvPr/>
        </p:nvCxnSpPr>
        <p:spPr>
          <a:xfrm>
            <a:off x="6847924" y="2353859"/>
            <a:ext cx="0" cy="237744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箭头连接符 68"/>
          <p:cNvCxnSpPr/>
          <p:nvPr/>
        </p:nvCxnSpPr>
        <p:spPr>
          <a:xfrm>
            <a:off x="1274647" y="2840991"/>
            <a:ext cx="1266960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箭头连接符 69"/>
          <p:cNvCxnSpPr/>
          <p:nvPr/>
        </p:nvCxnSpPr>
        <p:spPr>
          <a:xfrm>
            <a:off x="3932404" y="2840991"/>
            <a:ext cx="430078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箭头连接符 72"/>
          <p:cNvCxnSpPr/>
          <p:nvPr/>
        </p:nvCxnSpPr>
        <p:spPr>
          <a:xfrm>
            <a:off x="4505979" y="2840991"/>
            <a:ext cx="704398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箭头连接符 74"/>
          <p:cNvCxnSpPr/>
          <p:nvPr/>
        </p:nvCxnSpPr>
        <p:spPr>
          <a:xfrm>
            <a:off x="5693704" y="2840991"/>
            <a:ext cx="1550689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箭头连接符 75"/>
          <p:cNvCxnSpPr/>
          <p:nvPr/>
        </p:nvCxnSpPr>
        <p:spPr>
          <a:xfrm>
            <a:off x="7429181" y="2840991"/>
            <a:ext cx="959906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直接箭头连接符 76"/>
          <p:cNvCxnSpPr/>
          <p:nvPr/>
        </p:nvCxnSpPr>
        <p:spPr>
          <a:xfrm>
            <a:off x="9010786" y="2840991"/>
            <a:ext cx="1550689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473630" y="2840991"/>
            <a:ext cx="11164995" cy="0"/>
          </a:xfrm>
          <a:prstGeom prst="line">
            <a:avLst/>
          </a:prstGeom>
          <a:ln>
            <a:solidFill>
              <a:srgbClr val="F05A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文本框 40"/>
          <p:cNvSpPr txBox="1"/>
          <p:nvPr/>
        </p:nvSpPr>
        <p:spPr>
          <a:xfrm>
            <a:off x="517776" y="2935353"/>
            <a:ext cx="1713230" cy="3606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sz="1400" smtClean="0">
                <a:latin typeface="楷体" panose="02010609060101010101" pitchFamily="49" charset="-122"/>
                <a:ea typeface="楷体" panose="02010609060101010101" pitchFamily="49" charset="-122"/>
              </a:rPr>
              <a:t>代理人风险评级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42" name="椭圆 41"/>
          <p:cNvSpPr/>
          <p:nvPr/>
        </p:nvSpPr>
        <p:spPr>
          <a:xfrm>
            <a:off x="1127324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椭圆 42"/>
          <p:cNvSpPr/>
          <p:nvPr/>
        </p:nvSpPr>
        <p:spPr>
          <a:xfrm>
            <a:off x="2556630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7" name="直接箭头连接符 46"/>
          <p:cNvCxnSpPr/>
          <p:nvPr/>
        </p:nvCxnSpPr>
        <p:spPr>
          <a:xfrm>
            <a:off x="2733032" y="2840976"/>
            <a:ext cx="1033703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五边形 5"/>
          <p:cNvSpPr/>
          <p:nvPr/>
        </p:nvSpPr>
        <p:spPr>
          <a:xfrm>
            <a:off x="484505" y="1598295"/>
            <a:ext cx="2476500" cy="307975"/>
          </a:xfrm>
          <a:prstGeom prst="homePlate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>
                <a:sym typeface="+mn-ea"/>
              </a:rPr>
              <a:t>保前</a:t>
            </a:r>
            <a:endParaRPr lang="zh-CN" altLang="en-US">
              <a:sym typeface="+mn-ea"/>
            </a:endParaRPr>
          </a:p>
        </p:txBody>
      </p:sp>
      <p:sp>
        <p:nvSpPr>
          <p:cNvPr id="3" name="五边形 2"/>
          <p:cNvSpPr/>
          <p:nvPr/>
        </p:nvSpPr>
        <p:spPr>
          <a:xfrm>
            <a:off x="3109595" y="1598295"/>
            <a:ext cx="3679190" cy="307975"/>
          </a:xfrm>
          <a:prstGeom prst="homePlate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>
                <a:sym typeface="+mn-ea"/>
              </a:rPr>
              <a:t>保中</a:t>
            </a:r>
            <a:endParaRPr lang="zh-CN" altLang="en-US">
              <a:sym typeface="+mn-ea"/>
            </a:endParaRPr>
          </a:p>
        </p:txBody>
      </p:sp>
      <p:sp>
        <p:nvSpPr>
          <p:cNvPr id="7" name="五边形 6"/>
          <p:cNvSpPr/>
          <p:nvPr/>
        </p:nvSpPr>
        <p:spPr>
          <a:xfrm>
            <a:off x="6847840" y="1598295"/>
            <a:ext cx="4790440" cy="307975"/>
          </a:xfrm>
          <a:prstGeom prst="homePlate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>
                <a:sym typeface="+mn-ea"/>
              </a:rPr>
              <a:t>保后</a:t>
            </a:r>
            <a:endParaRPr lang="zh-CN" altLang="en-US"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3222551" y="3522507"/>
            <a:ext cx="2011680" cy="62992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劝留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</a:rPr>
              <a:t>模组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已投诉的客户能否劝留化解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779260" y="1055370"/>
            <a:ext cx="3867150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洞察趋势：了解保险风控格局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3750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  <p:sp>
          <p:nvSpPr>
            <p:cNvPr id="20" name="直角三角形 19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</p:grpSp>
      <p:sp>
        <p:nvSpPr>
          <p:cNvPr id="21" name="等腰三角形 20"/>
          <p:cNvSpPr/>
          <p:nvPr/>
        </p:nvSpPr>
        <p:spPr>
          <a:xfrm rot="10273322">
            <a:off x="2884558" y="793348"/>
            <a:ext cx="1825398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2" name="直角三角形 21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3" name="文本框 6"/>
          <p:cNvSpPr txBox="1"/>
          <p:nvPr/>
        </p:nvSpPr>
        <p:spPr>
          <a:xfrm>
            <a:off x="630723" y="2708304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CONTENT</a:t>
            </a:r>
            <a:endParaRPr kumimoji="0" lang="en-US" altLang="zh-CN" sz="32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kumimoji="0" lang="zh-CN" altLang="en-US" sz="44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5881411" y="105546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1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5881411" y="2009873"/>
            <a:ext cx="533400" cy="53340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>
                <a:latin typeface="+mj-lt"/>
                <a:ea typeface="Noto Sans S Chinese Regular" panose="020B0500000000000000" pitchFamily="34" charset="-122"/>
                <a:sym typeface="+mn-ea"/>
              </a:rPr>
              <a:t>2</a:t>
            </a:r>
            <a:endParaRPr lang="en-US" altLang="zh-CN" sz="2000" b="1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2" name="椭圆 71"/>
          <p:cNvSpPr/>
          <p:nvPr/>
        </p:nvSpPr>
        <p:spPr>
          <a:xfrm>
            <a:off x="5881411" y="296427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140000"/>
              </a:lnSpc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</a:rPr>
              <a:t>3</a:t>
            </a:r>
            <a:endParaRPr lang="zh-CN" altLang="en-US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6779260" y="2005965"/>
            <a:ext cx="3867785" cy="533400"/>
          </a:xfrm>
          <a:prstGeom prst="rect">
            <a:avLst/>
          </a:prstGeom>
          <a:solidFill>
            <a:srgbClr val="FF66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突破瓶颈：小样本数据挖掘</a:t>
            </a:r>
            <a:endParaRPr lang="zh-CN" altLang="en-US" sz="2000" b="1" dirty="0" smtClean="0">
              <a:solidFill>
                <a:schemeClr val="bg1"/>
              </a:solidFill>
              <a:sym typeface="+mn-ea"/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6779260" y="295656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码行为：破局稀缺</a:t>
            </a:r>
            <a:r>
              <a:rPr lang="en-US" altLang="zh-CN" sz="2000" dirty="0" smtClean="0">
                <a:solidFill>
                  <a:schemeClr val="tx1"/>
                </a:solidFill>
              </a:rPr>
              <a:t>&amp;</a:t>
            </a:r>
            <a:r>
              <a:rPr lang="zh-CN" altLang="en-US" sz="2000" dirty="0" smtClean="0">
                <a:solidFill>
                  <a:schemeClr val="tx1"/>
                </a:solidFill>
              </a:rPr>
              <a:t>精选标签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2" name="椭圆 1"/>
          <p:cNvSpPr/>
          <p:nvPr/>
        </p:nvSpPr>
        <p:spPr>
          <a:xfrm>
            <a:off x="5882046" y="391868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4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79895" y="390715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实测胜算：AB实验测试效果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9" name="椭圆 8"/>
          <p:cNvSpPr/>
          <p:nvPr/>
        </p:nvSpPr>
        <p:spPr>
          <a:xfrm>
            <a:off x="5882046" y="487308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5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79895" y="485775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析风险：构建可解释的模型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掌控稀缺：小样本问题解析</a:t>
            </a:r>
            <a:endParaRPr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小样本概念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3" name="Freeform 19"/>
          <p:cNvSpPr>
            <a:spLocks noEditPoints="1"/>
          </p:cNvSpPr>
          <p:nvPr/>
        </p:nvSpPr>
        <p:spPr bwMode="auto">
          <a:xfrm>
            <a:off x="408940" y="3617595"/>
            <a:ext cx="389255" cy="438785"/>
          </a:xfrm>
          <a:custGeom>
            <a:avLst/>
            <a:gdLst>
              <a:gd name="T0" fmla="*/ 98 w 780"/>
              <a:gd name="T1" fmla="*/ 0 h 878"/>
              <a:gd name="T2" fmla="*/ 78 w 780"/>
              <a:gd name="T3" fmla="*/ 2 h 878"/>
              <a:gd name="T4" fmla="*/ 42 w 780"/>
              <a:gd name="T5" fmla="*/ 16 h 878"/>
              <a:gd name="T6" fmla="*/ 16 w 780"/>
              <a:gd name="T7" fmla="*/ 42 h 878"/>
              <a:gd name="T8" fmla="*/ 2 w 780"/>
              <a:gd name="T9" fmla="*/ 78 h 878"/>
              <a:gd name="T10" fmla="*/ 0 w 780"/>
              <a:gd name="T11" fmla="*/ 780 h 878"/>
              <a:gd name="T12" fmla="*/ 2 w 780"/>
              <a:gd name="T13" fmla="*/ 800 h 878"/>
              <a:gd name="T14" fmla="*/ 16 w 780"/>
              <a:gd name="T15" fmla="*/ 834 h 878"/>
              <a:gd name="T16" fmla="*/ 42 w 780"/>
              <a:gd name="T17" fmla="*/ 862 h 878"/>
              <a:gd name="T18" fmla="*/ 78 w 780"/>
              <a:gd name="T19" fmla="*/ 876 h 878"/>
              <a:gd name="T20" fmla="*/ 684 w 780"/>
              <a:gd name="T21" fmla="*/ 878 h 878"/>
              <a:gd name="T22" fmla="*/ 702 w 780"/>
              <a:gd name="T23" fmla="*/ 876 h 878"/>
              <a:gd name="T24" fmla="*/ 738 w 780"/>
              <a:gd name="T25" fmla="*/ 862 h 878"/>
              <a:gd name="T26" fmla="*/ 764 w 780"/>
              <a:gd name="T27" fmla="*/ 834 h 878"/>
              <a:gd name="T28" fmla="*/ 778 w 780"/>
              <a:gd name="T29" fmla="*/ 800 h 878"/>
              <a:gd name="T30" fmla="*/ 780 w 780"/>
              <a:gd name="T31" fmla="*/ 98 h 878"/>
              <a:gd name="T32" fmla="*/ 778 w 780"/>
              <a:gd name="T33" fmla="*/ 78 h 878"/>
              <a:gd name="T34" fmla="*/ 764 w 780"/>
              <a:gd name="T35" fmla="*/ 42 h 878"/>
              <a:gd name="T36" fmla="*/ 738 w 780"/>
              <a:gd name="T37" fmla="*/ 16 h 878"/>
              <a:gd name="T38" fmla="*/ 702 w 780"/>
              <a:gd name="T39" fmla="*/ 2 h 878"/>
              <a:gd name="T40" fmla="*/ 684 w 780"/>
              <a:gd name="T41" fmla="*/ 0 h 878"/>
              <a:gd name="T42" fmla="*/ 98 w 780"/>
              <a:gd name="T43" fmla="*/ 780 h 878"/>
              <a:gd name="T44" fmla="*/ 684 w 780"/>
              <a:gd name="T45" fmla="*/ 98 h 878"/>
              <a:gd name="T46" fmla="*/ 440 w 780"/>
              <a:gd name="T47" fmla="*/ 536 h 878"/>
              <a:gd name="T48" fmla="*/ 196 w 780"/>
              <a:gd name="T49" fmla="*/ 586 h 878"/>
              <a:gd name="T50" fmla="*/ 440 w 780"/>
              <a:gd name="T51" fmla="*/ 536 h 878"/>
              <a:gd name="T52" fmla="*/ 390 w 780"/>
              <a:gd name="T53" fmla="*/ 342 h 878"/>
              <a:gd name="T54" fmla="*/ 586 w 780"/>
              <a:gd name="T55" fmla="*/ 390 h 878"/>
              <a:gd name="T56" fmla="*/ 390 w 780"/>
              <a:gd name="T57" fmla="*/ 292 h 878"/>
              <a:gd name="T58" fmla="*/ 586 w 780"/>
              <a:gd name="T59" fmla="*/ 194 h 878"/>
              <a:gd name="T60" fmla="*/ 390 w 780"/>
              <a:gd name="T61" fmla="*/ 292 h 878"/>
              <a:gd name="T62" fmla="*/ 196 w 780"/>
              <a:gd name="T63" fmla="*/ 194 h 878"/>
              <a:gd name="T64" fmla="*/ 342 w 780"/>
              <a:gd name="T65" fmla="*/ 390 h 878"/>
              <a:gd name="T66" fmla="*/ 292 w 780"/>
              <a:gd name="T67" fmla="*/ 438 h 878"/>
              <a:gd name="T68" fmla="*/ 196 w 780"/>
              <a:gd name="T69" fmla="*/ 488 h 878"/>
              <a:gd name="T70" fmla="*/ 292 w 780"/>
              <a:gd name="T71" fmla="*/ 438 h 878"/>
              <a:gd name="T72" fmla="*/ 586 w 780"/>
              <a:gd name="T73" fmla="*/ 488 h 878"/>
              <a:gd name="T74" fmla="*/ 342 w 780"/>
              <a:gd name="T75" fmla="*/ 438 h 878"/>
              <a:gd name="T76" fmla="*/ 586 w 780"/>
              <a:gd name="T77" fmla="*/ 634 h 878"/>
              <a:gd name="T78" fmla="*/ 196 w 780"/>
              <a:gd name="T79" fmla="*/ 682 h 878"/>
              <a:gd name="T80" fmla="*/ 586 w 780"/>
              <a:gd name="T81" fmla="*/ 634 h 878"/>
              <a:gd name="T82" fmla="*/ 586 w 780"/>
              <a:gd name="T83" fmla="*/ 586 h 878"/>
              <a:gd name="T84" fmla="*/ 488 w 780"/>
              <a:gd name="T85" fmla="*/ 536 h 8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80" h="878">
                <a:moveTo>
                  <a:pt x="684" y="0"/>
                </a:moveTo>
                <a:lnTo>
                  <a:pt x="98" y="0"/>
                </a:lnTo>
                <a:lnTo>
                  <a:pt x="98" y="0"/>
                </a:lnTo>
                <a:lnTo>
                  <a:pt x="78" y="2"/>
                </a:lnTo>
                <a:lnTo>
                  <a:pt x="60" y="8"/>
                </a:lnTo>
                <a:lnTo>
                  <a:pt x="42" y="16"/>
                </a:lnTo>
                <a:lnTo>
                  <a:pt x="28" y="28"/>
                </a:lnTo>
                <a:lnTo>
                  <a:pt x="16" y="42"/>
                </a:lnTo>
                <a:lnTo>
                  <a:pt x="8" y="60"/>
                </a:lnTo>
                <a:lnTo>
                  <a:pt x="2" y="78"/>
                </a:lnTo>
                <a:lnTo>
                  <a:pt x="0" y="98"/>
                </a:lnTo>
                <a:lnTo>
                  <a:pt x="0" y="780"/>
                </a:lnTo>
                <a:lnTo>
                  <a:pt x="0" y="780"/>
                </a:lnTo>
                <a:lnTo>
                  <a:pt x="2" y="800"/>
                </a:lnTo>
                <a:lnTo>
                  <a:pt x="8" y="818"/>
                </a:lnTo>
                <a:lnTo>
                  <a:pt x="16" y="834"/>
                </a:lnTo>
                <a:lnTo>
                  <a:pt x="28" y="850"/>
                </a:lnTo>
                <a:lnTo>
                  <a:pt x="42" y="862"/>
                </a:lnTo>
                <a:lnTo>
                  <a:pt x="60" y="870"/>
                </a:lnTo>
                <a:lnTo>
                  <a:pt x="78" y="876"/>
                </a:lnTo>
                <a:lnTo>
                  <a:pt x="98" y="878"/>
                </a:lnTo>
                <a:lnTo>
                  <a:pt x="684" y="878"/>
                </a:lnTo>
                <a:lnTo>
                  <a:pt x="684" y="878"/>
                </a:lnTo>
                <a:lnTo>
                  <a:pt x="702" y="876"/>
                </a:lnTo>
                <a:lnTo>
                  <a:pt x="722" y="870"/>
                </a:lnTo>
                <a:lnTo>
                  <a:pt x="738" y="862"/>
                </a:lnTo>
                <a:lnTo>
                  <a:pt x="752" y="850"/>
                </a:lnTo>
                <a:lnTo>
                  <a:pt x="764" y="834"/>
                </a:lnTo>
                <a:lnTo>
                  <a:pt x="774" y="818"/>
                </a:lnTo>
                <a:lnTo>
                  <a:pt x="778" y="800"/>
                </a:lnTo>
                <a:lnTo>
                  <a:pt x="780" y="780"/>
                </a:lnTo>
                <a:lnTo>
                  <a:pt x="780" y="98"/>
                </a:lnTo>
                <a:lnTo>
                  <a:pt x="780" y="98"/>
                </a:lnTo>
                <a:lnTo>
                  <a:pt x="778" y="78"/>
                </a:lnTo>
                <a:lnTo>
                  <a:pt x="774" y="60"/>
                </a:lnTo>
                <a:lnTo>
                  <a:pt x="764" y="42"/>
                </a:lnTo>
                <a:lnTo>
                  <a:pt x="752" y="28"/>
                </a:lnTo>
                <a:lnTo>
                  <a:pt x="738" y="16"/>
                </a:lnTo>
                <a:lnTo>
                  <a:pt x="722" y="8"/>
                </a:lnTo>
                <a:lnTo>
                  <a:pt x="702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684" y="780"/>
                </a:moveTo>
                <a:lnTo>
                  <a:pt x="98" y="780"/>
                </a:lnTo>
                <a:lnTo>
                  <a:pt x="98" y="98"/>
                </a:lnTo>
                <a:lnTo>
                  <a:pt x="684" y="98"/>
                </a:lnTo>
                <a:lnTo>
                  <a:pt x="684" y="780"/>
                </a:lnTo>
                <a:close/>
                <a:moveTo>
                  <a:pt x="440" y="536"/>
                </a:moveTo>
                <a:lnTo>
                  <a:pt x="196" y="536"/>
                </a:lnTo>
                <a:lnTo>
                  <a:pt x="196" y="586"/>
                </a:lnTo>
                <a:lnTo>
                  <a:pt x="440" y="586"/>
                </a:lnTo>
                <a:lnTo>
                  <a:pt x="440" y="536"/>
                </a:lnTo>
                <a:close/>
                <a:moveTo>
                  <a:pt x="586" y="342"/>
                </a:moveTo>
                <a:lnTo>
                  <a:pt x="390" y="342"/>
                </a:lnTo>
                <a:lnTo>
                  <a:pt x="390" y="390"/>
                </a:lnTo>
                <a:lnTo>
                  <a:pt x="586" y="390"/>
                </a:lnTo>
                <a:lnTo>
                  <a:pt x="586" y="342"/>
                </a:lnTo>
                <a:close/>
                <a:moveTo>
                  <a:pt x="390" y="292"/>
                </a:moveTo>
                <a:lnTo>
                  <a:pt x="586" y="292"/>
                </a:lnTo>
                <a:lnTo>
                  <a:pt x="586" y="194"/>
                </a:lnTo>
                <a:lnTo>
                  <a:pt x="390" y="194"/>
                </a:lnTo>
                <a:lnTo>
                  <a:pt x="390" y="292"/>
                </a:lnTo>
                <a:close/>
                <a:moveTo>
                  <a:pt x="342" y="194"/>
                </a:moveTo>
                <a:lnTo>
                  <a:pt x="196" y="194"/>
                </a:lnTo>
                <a:lnTo>
                  <a:pt x="196" y="390"/>
                </a:lnTo>
                <a:lnTo>
                  <a:pt x="342" y="390"/>
                </a:lnTo>
                <a:lnTo>
                  <a:pt x="342" y="194"/>
                </a:lnTo>
                <a:close/>
                <a:moveTo>
                  <a:pt x="292" y="438"/>
                </a:moveTo>
                <a:lnTo>
                  <a:pt x="196" y="438"/>
                </a:lnTo>
                <a:lnTo>
                  <a:pt x="196" y="488"/>
                </a:lnTo>
                <a:lnTo>
                  <a:pt x="292" y="488"/>
                </a:lnTo>
                <a:lnTo>
                  <a:pt x="292" y="438"/>
                </a:lnTo>
                <a:close/>
                <a:moveTo>
                  <a:pt x="342" y="488"/>
                </a:moveTo>
                <a:lnTo>
                  <a:pt x="586" y="488"/>
                </a:lnTo>
                <a:lnTo>
                  <a:pt x="586" y="438"/>
                </a:lnTo>
                <a:lnTo>
                  <a:pt x="342" y="438"/>
                </a:lnTo>
                <a:lnTo>
                  <a:pt x="342" y="488"/>
                </a:lnTo>
                <a:close/>
                <a:moveTo>
                  <a:pt x="586" y="634"/>
                </a:moveTo>
                <a:lnTo>
                  <a:pt x="196" y="634"/>
                </a:lnTo>
                <a:lnTo>
                  <a:pt x="196" y="682"/>
                </a:lnTo>
                <a:lnTo>
                  <a:pt x="586" y="682"/>
                </a:lnTo>
                <a:lnTo>
                  <a:pt x="586" y="634"/>
                </a:lnTo>
                <a:close/>
                <a:moveTo>
                  <a:pt x="488" y="586"/>
                </a:moveTo>
                <a:lnTo>
                  <a:pt x="586" y="586"/>
                </a:lnTo>
                <a:lnTo>
                  <a:pt x="586" y="536"/>
                </a:lnTo>
                <a:lnTo>
                  <a:pt x="488" y="536"/>
                </a:lnTo>
                <a:lnTo>
                  <a:pt x="488" y="58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en-US" dirty="0"/>
          </a:p>
        </p:txBody>
      </p:sp>
      <p:sp>
        <p:nvSpPr>
          <p:cNvPr id="13" name="文本框 12"/>
          <p:cNvSpPr txBox="1"/>
          <p:nvPr/>
        </p:nvSpPr>
        <p:spPr>
          <a:xfrm>
            <a:off x="938530" y="369189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小样本示例</a:t>
            </a:r>
            <a:endParaRPr lang="zh-CN" altLang="en-US" sz="1800" dirty="0" smtClean="0"/>
          </a:p>
        </p:txBody>
      </p:sp>
      <p:sp>
        <p:nvSpPr>
          <p:cNvPr id="19" name="椭圆 18"/>
          <p:cNvSpPr/>
          <p:nvPr/>
        </p:nvSpPr>
        <p:spPr>
          <a:xfrm>
            <a:off x="4639310" y="1553845"/>
            <a:ext cx="1913890" cy="1913890"/>
          </a:xfrm>
          <a:prstGeom prst="ellipse">
            <a:avLst/>
          </a:prstGeom>
          <a:noFill/>
          <a:ln w="12700" cap="flat" cmpd="sng" algn="ctr">
            <a:solidFill>
              <a:schemeClr val="accent1">
                <a:alpha val="5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1" name="椭圆 20"/>
          <p:cNvSpPr/>
          <p:nvPr/>
        </p:nvSpPr>
        <p:spPr>
          <a:xfrm>
            <a:off x="4639628" y="1554163"/>
            <a:ext cx="1913255" cy="1913255"/>
          </a:xfrm>
          <a:prstGeom prst="ellipse">
            <a:avLst/>
          </a:prstGeom>
          <a:blipFill>
            <a:blip r:embed="rId1"/>
            <a:srcRect/>
            <a:stretch>
              <a:fillRect l="-26675" t="263" r="-27904" b="-263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30" name="组合 29"/>
          <p:cNvGrpSpPr/>
          <p:nvPr/>
        </p:nvGrpSpPr>
        <p:grpSpPr>
          <a:xfrm rot="0">
            <a:off x="6308090" y="2176145"/>
            <a:ext cx="538480" cy="538480"/>
            <a:chOff x="3526795" y="2235779"/>
            <a:chExt cx="410200" cy="410198"/>
          </a:xfrm>
        </p:grpSpPr>
        <p:sp>
          <p:nvSpPr>
            <p:cNvPr id="34" name="椭圆 33"/>
            <p:cNvSpPr/>
            <p:nvPr/>
          </p:nvSpPr>
          <p:spPr>
            <a:xfrm>
              <a:off x="3526795" y="2235779"/>
              <a:ext cx="410200" cy="410198"/>
            </a:xfrm>
            <a:prstGeom prst="ellipse">
              <a:avLst/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38" name="任意多边形: 形状 20"/>
            <p:cNvSpPr/>
            <p:nvPr/>
          </p:nvSpPr>
          <p:spPr>
            <a:xfrm>
              <a:off x="3642895" y="2374128"/>
              <a:ext cx="178001" cy="133500"/>
            </a:xfrm>
            <a:custGeom>
              <a:avLst/>
              <a:gdLst>
                <a:gd name="connsiteX0" fmla="*/ 505433 w 533400"/>
                <a:gd name="connsiteY0" fmla="*/ 621 h 400050"/>
                <a:gd name="connsiteX1" fmla="*/ 534008 w 533400"/>
                <a:gd name="connsiteY1" fmla="*/ 29196 h 400050"/>
                <a:gd name="connsiteX2" fmla="*/ 534008 w 533400"/>
                <a:gd name="connsiteY2" fmla="*/ 372096 h 400050"/>
                <a:gd name="connsiteX3" fmla="*/ 505433 w 533400"/>
                <a:gd name="connsiteY3" fmla="*/ 400671 h 400050"/>
                <a:gd name="connsiteX4" fmla="*/ 29183 w 533400"/>
                <a:gd name="connsiteY4" fmla="*/ 400671 h 400050"/>
                <a:gd name="connsiteX5" fmla="*/ 608 w 533400"/>
                <a:gd name="connsiteY5" fmla="*/ 372096 h 400050"/>
                <a:gd name="connsiteX6" fmla="*/ 608 w 533400"/>
                <a:gd name="connsiteY6" fmla="*/ 29196 h 400050"/>
                <a:gd name="connsiteX7" fmla="*/ 29183 w 533400"/>
                <a:gd name="connsiteY7" fmla="*/ 621 h 400050"/>
                <a:gd name="connsiteX8" fmla="*/ 505433 w 533400"/>
                <a:gd name="connsiteY8" fmla="*/ 621 h 400050"/>
                <a:gd name="connsiteX9" fmla="*/ 391419 w 533400"/>
                <a:gd name="connsiteY9" fmla="*/ 198646 h 400050"/>
                <a:gd name="connsiteX10" fmla="*/ 351414 w 533400"/>
                <a:gd name="connsiteY10" fmla="*/ 204170 h 400050"/>
                <a:gd name="connsiteX11" fmla="*/ 351414 w 533400"/>
                <a:gd name="connsiteY11" fmla="*/ 204170 h 400050"/>
                <a:gd name="connsiteX12" fmla="*/ 267118 w 533400"/>
                <a:gd name="connsiteY12" fmla="*/ 315613 h 400050"/>
                <a:gd name="connsiteX13" fmla="*/ 264641 w 533400"/>
                <a:gd name="connsiteY13" fmla="*/ 318470 h 400050"/>
                <a:gd name="connsiteX14" fmla="*/ 224255 w 533400"/>
                <a:gd name="connsiteY14" fmla="*/ 318756 h 400050"/>
                <a:gd name="connsiteX15" fmla="*/ 224255 w 533400"/>
                <a:gd name="connsiteY15" fmla="*/ 318756 h 400050"/>
                <a:gd name="connsiteX16" fmla="*/ 162152 w 533400"/>
                <a:gd name="connsiteY16" fmla="*/ 257415 h 400050"/>
                <a:gd name="connsiteX17" fmla="*/ 160247 w 533400"/>
                <a:gd name="connsiteY17" fmla="*/ 255701 h 400050"/>
                <a:gd name="connsiteX18" fmla="*/ 120052 w 533400"/>
                <a:gd name="connsiteY18" fmla="*/ 259606 h 400050"/>
                <a:gd name="connsiteX19" fmla="*/ 120052 w 533400"/>
                <a:gd name="connsiteY19" fmla="*/ 259606 h 400050"/>
                <a:gd name="connsiteX20" fmla="*/ 32517 w 533400"/>
                <a:gd name="connsiteY20" fmla="*/ 366095 h 400050"/>
                <a:gd name="connsiteX21" fmla="*/ 30326 w 533400"/>
                <a:gd name="connsiteY21" fmla="*/ 372096 h 400050"/>
                <a:gd name="connsiteX22" fmla="*/ 39851 w 533400"/>
                <a:gd name="connsiteY22" fmla="*/ 381621 h 400050"/>
                <a:gd name="connsiteX23" fmla="*/ 39851 w 533400"/>
                <a:gd name="connsiteY23" fmla="*/ 381621 h 400050"/>
                <a:gd name="connsiteX24" fmla="*/ 497242 w 533400"/>
                <a:gd name="connsiteY24" fmla="*/ 381621 h 400050"/>
                <a:gd name="connsiteX25" fmla="*/ 502480 w 533400"/>
                <a:gd name="connsiteY25" fmla="*/ 380002 h 400050"/>
                <a:gd name="connsiteX26" fmla="*/ 505147 w 533400"/>
                <a:gd name="connsiteY26" fmla="*/ 366762 h 400050"/>
                <a:gd name="connsiteX27" fmla="*/ 505147 w 533400"/>
                <a:gd name="connsiteY27" fmla="*/ 366762 h 400050"/>
                <a:gd name="connsiteX28" fmla="*/ 397991 w 533400"/>
                <a:gd name="connsiteY28" fmla="*/ 205504 h 400050"/>
                <a:gd name="connsiteX29" fmla="*/ 391419 w 533400"/>
                <a:gd name="connsiteY29" fmla="*/ 198646 h 400050"/>
                <a:gd name="connsiteX30" fmla="*/ 95858 w 533400"/>
                <a:gd name="connsiteY30" fmla="*/ 57771 h 400050"/>
                <a:gd name="connsiteX31" fmla="*/ 57758 w 533400"/>
                <a:gd name="connsiteY31" fmla="*/ 95871 h 400050"/>
                <a:gd name="connsiteX32" fmla="*/ 95858 w 533400"/>
                <a:gd name="connsiteY32" fmla="*/ 133971 h 400050"/>
                <a:gd name="connsiteX33" fmla="*/ 133958 w 533400"/>
                <a:gd name="connsiteY33" fmla="*/ 95871 h 400050"/>
                <a:gd name="connsiteX34" fmla="*/ 95858 w 533400"/>
                <a:gd name="connsiteY34" fmla="*/ 5777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33400" h="400050">
                  <a:moveTo>
                    <a:pt x="505433" y="621"/>
                  </a:moveTo>
                  <a:cubicBezTo>
                    <a:pt x="521245" y="621"/>
                    <a:pt x="534008" y="13385"/>
                    <a:pt x="534008" y="29196"/>
                  </a:cubicBezTo>
                  <a:lnTo>
                    <a:pt x="534008" y="372096"/>
                  </a:lnTo>
                  <a:cubicBezTo>
                    <a:pt x="534008" y="387907"/>
                    <a:pt x="521245" y="400671"/>
                    <a:pt x="505433" y="400671"/>
                  </a:cubicBezTo>
                  <a:lnTo>
                    <a:pt x="29183" y="400671"/>
                  </a:lnTo>
                  <a:cubicBezTo>
                    <a:pt x="13371" y="400671"/>
                    <a:pt x="608" y="387907"/>
                    <a:pt x="608" y="372096"/>
                  </a:cubicBezTo>
                  <a:lnTo>
                    <a:pt x="608" y="29196"/>
                  </a:lnTo>
                  <a:cubicBezTo>
                    <a:pt x="608" y="13385"/>
                    <a:pt x="13371" y="621"/>
                    <a:pt x="29183" y="621"/>
                  </a:cubicBezTo>
                  <a:lnTo>
                    <a:pt x="505433" y="621"/>
                  </a:lnTo>
                  <a:close/>
                  <a:moveTo>
                    <a:pt x="391419" y="198646"/>
                  </a:moveTo>
                  <a:cubicBezTo>
                    <a:pt x="378846" y="189121"/>
                    <a:pt x="360939" y="191597"/>
                    <a:pt x="351414" y="204170"/>
                  </a:cubicBezTo>
                  <a:lnTo>
                    <a:pt x="351414" y="204170"/>
                  </a:lnTo>
                  <a:lnTo>
                    <a:pt x="267118" y="315613"/>
                  </a:lnTo>
                  <a:cubicBezTo>
                    <a:pt x="266355" y="316660"/>
                    <a:pt x="265498" y="317518"/>
                    <a:pt x="264641" y="318470"/>
                  </a:cubicBezTo>
                  <a:cubicBezTo>
                    <a:pt x="253592" y="329710"/>
                    <a:pt x="235495" y="329805"/>
                    <a:pt x="224255" y="318756"/>
                  </a:cubicBezTo>
                  <a:lnTo>
                    <a:pt x="224255" y="318756"/>
                  </a:lnTo>
                  <a:lnTo>
                    <a:pt x="162152" y="257415"/>
                  </a:lnTo>
                  <a:cubicBezTo>
                    <a:pt x="161485" y="256844"/>
                    <a:pt x="160914" y="256177"/>
                    <a:pt x="160247" y="255701"/>
                  </a:cubicBezTo>
                  <a:cubicBezTo>
                    <a:pt x="148055" y="245699"/>
                    <a:pt x="130053" y="247414"/>
                    <a:pt x="120052" y="259606"/>
                  </a:cubicBezTo>
                  <a:lnTo>
                    <a:pt x="120052" y="259606"/>
                  </a:lnTo>
                  <a:lnTo>
                    <a:pt x="32517" y="366095"/>
                  </a:lnTo>
                  <a:cubicBezTo>
                    <a:pt x="31088" y="367810"/>
                    <a:pt x="30326" y="369905"/>
                    <a:pt x="30326" y="372096"/>
                  </a:cubicBezTo>
                  <a:cubicBezTo>
                    <a:pt x="30326" y="377335"/>
                    <a:pt x="34612" y="381621"/>
                    <a:pt x="39851" y="381621"/>
                  </a:cubicBezTo>
                  <a:lnTo>
                    <a:pt x="39851" y="381621"/>
                  </a:lnTo>
                  <a:lnTo>
                    <a:pt x="497242" y="381621"/>
                  </a:lnTo>
                  <a:cubicBezTo>
                    <a:pt x="499146" y="381621"/>
                    <a:pt x="500956" y="381050"/>
                    <a:pt x="502480" y="380002"/>
                  </a:cubicBezTo>
                  <a:cubicBezTo>
                    <a:pt x="506862" y="377049"/>
                    <a:pt x="508005" y="371144"/>
                    <a:pt x="505147" y="366762"/>
                  </a:cubicBezTo>
                  <a:lnTo>
                    <a:pt x="505147" y="366762"/>
                  </a:lnTo>
                  <a:lnTo>
                    <a:pt x="397991" y="205504"/>
                  </a:lnTo>
                  <a:cubicBezTo>
                    <a:pt x="396181" y="202932"/>
                    <a:pt x="393990" y="200551"/>
                    <a:pt x="391419" y="198646"/>
                  </a:cubicBezTo>
                  <a:close/>
                  <a:moveTo>
                    <a:pt x="95858" y="57771"/>
                  </a:moveTo>
                  <a:cubicBezTo>
                    <a:pt x="74808" y="57771"/>
                    <a:pt x="57758" y="74821"/>
                    <a:pt x="57758" y="95871"/>
                  </a:cubicBezTo>
                  <a:cubicBezTo>
                    <a:pt x="57758" y="116921"/>
                    <a:pt x="74808" y="133971"/>
                    <a:pt x="95858" y="133971"/>
                  </a:cubicBezTo>
                  <a:cubicBezTo>
                    <a:pt x="116908" y="133971"/>
                    <a:pt x="133958" y="116921"/>
                    <a:pt x="133958" y="95871"/>
                  </a:cubicBezTo>
                  <a:cubicBezTo>
                    <a:pt x="133958" y="74821"/>
                    <a:pt x="116908" y="57771"/>
                    <a:pt x="95858" y="57771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2" name="文本框 51"/>
          <p:cNvSpPr txBox="1"/>
          <p:nvPr/>
        </p:nvSpPr>
        <p:spPr>
          <a:xfrm>
            <a:off x="6913245" y="2193290"/>
            <a:ext cx="3268980" cy="538480"/>
          </a:xfrm>
          <a:prstGeom prst="rect">
            <a:avLst/>
          </a:prstGeom>
          <a:noFill/>
        </p:spPr>
        <p:txBody>
          <a:bodyPr wrap="square" anchor="ctr" anchorCtr="0">
            <a:norm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 kumimoji="0" sz="200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algn="l"/>
            <a:r>
              <a:rPr lang="zh-CN" altLang="en-US" sz="1800" b="0" dirty="0">
                <a:latin typeface="华文楷体" panose="02010600040101010101" pitchFamily="2" charset="-122"/>
                <a:ea typeface="华文楷体" panose="02010600040101010101" pitchFamily="2" charset="-122"/>
              </a:rPr>
              <a:t>正负样本分布不均匀</a:t>
            </a:r>
            <a:endParaRPr lang="zh-CN" altLang="en-US" sz="1800" b="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grpSp>
        <p:nvGrpSpPr>
          <p:cNvPr id="54" name="组合 53"/>
          <p:cNvGrpSpPr/>
          <p:nvPr/>
        </p:nvGrpSpPr>
        <p:grpSpPr>
          <a:xfrm rot="0">
            <a:off x="4332605" y="2176145"/>
            <a:ext cx="538480" cy="538480"/>
            <a:chOff x="4471992" y="2235779"/>
            <a:chExt cx="410200" cy="410198"/>
          </a:xfrm>
        </p:grpSpPr>
        <p:sp>
          <p:nvSpPr>
            <p:cNvPr id="55" name="椭圆 54"/>
            <p:cNvSpPr/>
            <p:nvPr/>
          </p:nvSpPr>
          <p:spPr>
            <a:xfrm>
              <a:off x="4471992" y="2235779"/>
              <a:ext cx="410200" cy="410198"/>
            </a:xfrm>
            <a:prstGeom prst="ellipse">
              <a:avLst/>
            </a:pr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56" name="任意多边形: 形状 15"/>
            <p:cNvSpPr/>
            <p:nvPr/>
          </p:nvSpPr>
          <p:spPr>
            <a:xfrm>
              <a:off x="4595899" y="2358227"/>
              <a:ext cx="162386" cy="178001"/>
            </a:xfrm>
            <a:custGeom>
              <a:avLst/>
              <a:gdLst>
                <a:gd name="connsiteX0" fmla="*/ 248770 w 495300"/>
                <a:gd name="connsiteY0" fmla="*/ 621 h 542925"/>
                <a:gd name="connsiteX1" fmla="*/ 496420 w 495300"/>
                <a:gd name="connsiteY1" fmla="*/ 248271 h 542925"/>
                <a:gd name="connsiteX2" fmla="*/ 323827 w 495300"/>
                <a:gd name="connsiteY2" fmla="*/ 484396 h 542925"/>
                <a:gd name="connsiteX3" fmla="*/ 346973 w 495300"/>
                <a:gd name="connsiteY3" fmla="*/ 524496 h 542925"/>
                <a:gd name="connsiteX4" fmla="*/ 420220 w 495300"/>
                <a:gd name="connsiteY4" fmla="*/ 524496 h 542925"/>
                <a:gd name="connsiteX5" fmla="*/ 420220 w 495300"/>
                <a:gd name="connsiteY5" fmla="*/ 543546 h 542925"/>
                <a:gd name="connsiteX6" fmla="*/ 77320 w 495300"/>
                <a:gd name="connsiteY6" fmla="*/ 543546 h 542925"/>
                <a:gd name="connsiteX7" fmla="*/ 77320 w 495300"/>
                <a:gd name="connsiteY7" fmla="*/ 524496 h 542925"/>
                <a:gd name="connsiteX8" fmla="*/ 150567 w 495300"/>
                <a:gd name="connsiteY8" fmla="*/ 524496 h 542925"/>
                <a:gd name="connsiteX9" fmla="*/ 173713 w 495300"/>
                <a:gd name="connsiteY9" fmla="*/ 484396 h 542925"/>
                <a:gd name="connsiteX10" fmla="*/ 1120 w 495300"/>
                <a:gd name="connsiteY10" fmla="*/ 248271 h 542925"/>
                <a:gd name="connsiteX11" fmla="*/ 248770 w 495300"/>
                <a:gd name="connsiteY11" fmla="*/ 621 h 542925"/>
                <a:gd name="connsiteX12" fmla="*/ 192763 w 495300"/>
                <a:gd name="connsiteY12" fmla="*/ 489539 h 542925"/>
                <a:gd name="connsiteX13" fmla="*/ 172570 w 495300"/>
                <a:gd name="connsiteY13" fmla="*/ 524496 h 542925"/>
                <a:gd name="connsiteX14" fmla="*/ 324970 w 495300"/>
                <a:gd name="connsiteY14" fmla="*/ 524496 h 542925"/>
                <a:gd name="connsiteX15" fmla="*/ 304777 w 495300"/>
                <a:gd name="connsiteY15" fmla="*/ 489539 h 542925"/>
                <a:gd name="connsiteX16" fmla="*/ 248770 w 495300"/>
                <a:gd name="connsiteY16" fmla="*/ 495921 h 542925"/>
                <a:gd name="connsiteX17" fmla="*/ 192763 w 495300"/>
                <a:gd name="connsiteY17" fmla="*/ 489539 h 542925"/>
                <a:gd name="connsiteX18" fmla="*/ 248770 w 495300"/>
                <a:gd name="connsiteY18" fmla="*/ 143496 h 542925"/>
                <a:gd name="connsiteX19" fmla="*/ 143995 w 495300"/>
                <a:gd name="connsiteY19" fmla="*/ 248271 h 542925"/>
                <a:gd name="connsiteX20" fmla="*/ 248770 w 495300"/>
                <a:gd name="connsiteY20" fmla="*/ 353046 h 542925"/>
                <a:gd name="connsiteX21" fmla="*/ 353545 w 495300"/>
                <a:gd name="connsiteY21" fmla="*/ 248271 h 542925"/>
                <a:gd name="connsiteX22" fmla="*/ 248770 w 495300"/>
                <a:gd name="connsiteY22" fmla="*/ 143496 h 542925"/>
                <a:gd name="connsiteX23" fmla="*/ 367833 w 495300"/>
                <a:gd name="connsiteY23" fmla="*/ 114921 h 542925"/>
                <a:gd name="connsiteX24" fmla="*/ 353545 w 495300"/>
                <a:gd name="connsiteY24" fmla="*/ 129209 h 542925"/>
                <a:gd name="connsiteX25" fmla="*/ 367833 w 495300"/>
                <a:gd name="connsiteY25" fmla="*/ 143496 h 542925"/>
                <a:gd name="connsiteX26" fmla="*/ 382120 w 495300"/>
                <a:gd name="connsiteY26" fmla="*/ 129209 h 542925"/>
                <a:gd name="connsiteX27" fmla="*/ 367833 w 495300"/>
                <a:gd name="connsiteY27" fmla="*/ 114921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5300" h="542925">
                  <a:moveTo>
                    <a:pt x="248770" y="621"/>
                  </a:moveTo>
                  <a:cubicBezTo>
                    <a:pt x="385549" y="621"/>
                    <a:pt x="496420" y="111492"/>
                    <a:pt x="496420" y="248271"/>
                  </a:cubicBezTo>
                  <a:cubicBezTo>
                    <a:pt x="496420" y="358856"/>
                    <a:pt x="423935" y="452582"/>
                    <a:pt x="323827" y="484396"/>
                  </a:cubicBezTo>
                  <a:lnTo>
                    <a:pt x="346973" y="524496"/>
                  </a:lnTo>
                  <a:lnTo>
                    <a:pt x="420220" y="524496"/>
                  </a:lnTo>
                  <a:lnTo>
                    <a:pt x="420220" y="543546"/>
                  </a:lnTo>
                  <a:lnTo>
                    <a:pt x="77320" y="543546"/>
                  </a:lnTo>
                  <a:lnTo>
                    <a:pt x="77320" y="524496"/>
                  </a:lnTo>
                  <a:lnTo>
                    <a:pt x="150567" y="524496"/>
                  </a:lnTo>
                  <a:lnTo>
                    <a:pt x="173713" y="484396"/>
                  </a:lnTo>
                  <a:cubicBezTo>
                    <a:pt x="73605" y="452582"/>
                    <a:pt x="1120" y="358856"/>
                    <a:pt x="1120" y="248271"/>
                  </a:cubicBezTo>
                  <a:cubicBezTo>
                    <a:pt x="1120" y="111492"/>
                    <a:pt x="111991" y="621"/>
                    <a:pt x="248770" y="621"/>
                  </a:cubicBezTo>
                  <a:close/>
                  <a:moveTo>
                    <a:pt x="192763" y="489539"/>
                  </a:moveTo>
                  <a:lnTo>
                    <a:pt x="172570" y="524496"/>
                  </a:lnTo>
                  <a:lnTo>
                    <a:pt x="324970" y="524496"/>
                  </a:lnTo>
                  <a:lnTo>
                    <a:pt x="304777" y="489539"/>
                  </a:lnTo>
                  <a:cubicBezTo>
                    <a:pt x="286775" y="493730"/>
                    <a:pt x="268010" y="495921"/>
                    <a:pt x="248770" y="495921"/>
                  </a:cubicBezTo>
                  <a:cubicBezTo>
                    <a:pt x="229530" y="495921"/>
                    <a:pt x="210765" y="493730"/>
                    <a:pt x="192763" y="489539"/>
                  </a:cubicBezTo>
                  <a:close/>
                  <a:moveTo>
                    <a:pt x="248770" y="143496"/>
                  </a:moveTo>
                  <a:cubicBezTo>
                    <a:pt x="190858" y="143496"/>
                    <a:pt x="143995" y="190359"/>
                    <a:pt x="143995" y="248271"/>
                  </a:cubicBezTo>
                  <a:cubicBezTo>
                    <a:pt x="143995" y="306183"/>
                    <a:pt x="190858" y="353046"/>
                    <a:pt x="248770" y="353046"/>
                  </a:cubicBezTo>
                  <a:cubicBezTo>
                    <a:pt x="306682" y="353046"/>
                    <a:pt x="353545" y="306183"/>
                    <a:pt x="353545" y="248271"/>
                  </a:cubicBezTo>
                  <a:cubicBezTo>
                    <a:pt x="353545" y="190359"/>
                    <a:pt x="306682" y="143496"/>
                    <a:pt x="248770" y="143496"/>
                  </a:cubicBezTo>
                  <a:close/>
                  <a:moveTo>
                    <a:pt x="367833" y="114921"/>
                  </a:moveTo>
                  <a:cubicBezTo>
                    <a:pt x="359927" y="114921"/>
                    <a:pt x="353545" y="121303"/>
                    <a:pt x="353545" y="129209"/>
                  </a:cubicBezTo>
                  <a:cubicBezTo>
                    <a:pt x="353545" y="137114"/>
                    <a:pt x="359927" y="143496"/>
                    <a:pt x="367833" y="143496"/>
                  </a:cubicBezTo>
                  <a:cubicBezTo>
                    <a:pt x="375738" y="143496"/>
                    <a:pt x="382120" y="137114"/>
                    <a:pt x="382120" y="129209"/>
                  </a:cubicBezTo>
                  <a:cubicBezTo>
                    <a:pt x="382120" y="121303"/>
                    <a:pt x="375738" y="114921"/>
                    <a:pt x="367833" y="114921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1542415" y="2193290"/>
            <a:ext cx="2790190" cy="538480"/>
          </a:xfrm>
          <a:prstGeom prst="rect">
            <a:avLst/>
          </a:prstGeom>
          <a:noFill/>
        </p:spPr>
        <p:txBody>
          <a:bodyPr wrap="square" anchor="ctr" anchorCtr="0">
            <a:norm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 kumimoji="0" sz="200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algn="l" fontAlgn="ctr"/>
            <a:r>
              <a:rPr lang="zh-CN" altLang="en-US" sz="1800" b="0">
                <a:sym typeface="+mn-ea"/>
              </a:rPr>
              <a:t>样本量少的那一类更重要</a:t>
            </a:r>
            <a:endParaRPr lang="zh-CN" altLang="en-US" sz="1800" b="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33" name="直接连接符 32"/>
          <p:cNvCxnSpPr/>
          <p:nvPr/>
        </p:nvCxnSpPr>
        <p:spPr>
          <a:xfrm flipH="1">
            <a:off x="660400" y="5391785"/>
            <a:ext cx="10858500" cy="0"/>
          </a:xfrm>
          <a:prstGeom prst="line">
            <a:avLst/>
          </a:prstGeom>
          <a:ln w="6350" cap="rnd">
            <a:solidFill>
              <a:schemeClr val="accent1">
                <a:alpha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组合 68"/>
          <p:cNvGrpSpPr/>
          <p:nvPr/>
        </p:nvGrpSpPr>
        <p:grpSpPr>
          <a:xfrm>
            <a:off x="1546860" y="4276725"/>
            <a:ext cx="833120" cy="1215390"/>
            <a:chOff x="2436" y="6700"/>
            <a:chExt cx="1312" cy="1914"/>
          </a:xfrm>
        </p:grpSpPr>
        <p:sp>
          <p:nvSpPr>
            <p:cNvPr id="35" name="椭圆 34"/>
            <p:cNvSpPr/>
            <p:nvPr/>
          </p:nvSpPr>
          <p:spPr>
            <a:xfrm>
              <a:off x="2950" y="8332"/>
              <a:ext cx="283" cy="283"/>
            </a:xfrm>
            <a:prstGeom prst="ellipse">
              <a:avLst/>
            </a:prstGeom>
            <a:solidFill>
              <a:schemeClr val="accent1"/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泪滴形 35"/>
            <p:cNvSpPr/>
            <p:nvPr/>
          </p:nvSpPr>
          <p:spPr>
            <a:xfrm rot="8100000">
              <a:off x="2436" y="6700"/>
              <a:ext cx="1312" cy="1312"/>
            </a:xfrm>
            <a:prstGeom prst="teardrop">
              <a:avLst/>
            </a:prstGeom>
            <a:solidFill>
              <a:schemeClr val="accent1">
                <a:alpha val="15000"/>
              </a:schemeClr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7" name="文本框 36"/>
            <p:cNvSpPr txBox="1"/>
            <p:nvPr/>
          </p:nvSpPr>
          <p:spPr bwMode="auto">
            <a:xfrm>
              <a:off x="2566" y="6850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chemeClr val="accent1"/>
                  </a:solidFill>
                  <a:latin typeface="Calibri" panose="020F0502020204030204" pitchFamily="34" charset="0"/>
                  <a:ea typeface="宋体" panose="02010600030101010101" pitchFamily="2" charset="-122"/>
                </a:rPr>
                <a:t>01</a:t>
              </a:r>
              <a:endParaRPr lang="en-US" altLang="zh-CN" b="1" dirty="0">
                <a:solidFill>
                  <a:schemeClr val="accent1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3609975" y="4076700"/>
            <a:ext cx="833120" cy="1415415"/>
            <a:chOff x="6003" y="6385"/>
            <a:chExt cx="1312" cy="2229"/>
          </a:xfrm>
        </p:grpSpPr>
        <p:sp>
          <p:nvSpPr>
            <p:cNvPr id="18" name="文本框 17"/>
            <p:cNvSpPr txBox="1"/>
            <p:nvPr/>
          </p:nvSpPr>
          <p:spPr bwMode="auto">
            <a:xfrm>
              <a:off x="6133" y="6385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rgbClr val="FFFFFF"/>
                  </a:solidFill>
                  <a:latin typeface="Calibri" panose="020F0502020204030204" pitchFamily="34" charset="0"/>
                  <a:ea typeface="宋体" panose="02010600030101010101" pitchFamily="2" charset="-122"/>
                </a:rPr>
                <a:t>02</a:t>
              </a:r>
              <a:endPara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39" name="椭圆 38"/>
            <p:cNvSpPr/>
            <p:nvPr/>
          </p:nvSpPr>
          <p:spPr>
            <a:xfrm>
              <a:off x="6517" y="8332"/>
              <a:ext cx="283" cy="283"/>
            </a:xfrm>
            <a:prstGeom prst="ellipse">
              <a:avLst/>
            </a:prstGeom>
            <a:solidFill>
              <a:schemeClr val="accent1"/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0" name="泪滴形 39"/>
            <p:cNvSpPr/>
            <p:nvPr/>
          </p:nvSpPr>
          <p:spPr>
            <a:xfrm rot="8100000">
              <a:off x="6003" y="6700"/>
              <a:ext cx="1312" cy="1312"/>
            </a:xfrm>
            <a:prstGeom prst="teardrop">
              <a:avLst/>
            </a:prstGeom>
            <a:solidFill>
              <a:schemeClr val="accent1">
                <a:alpha val="15000"/>
              </a:schemeClr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/>
            </a:bodyPr>
            <a:p>
              <a:pPr lvl="0" algn="ctr" defTabSz="913765">
                <a:buClrTx/>
                <a:buSzTx/>
                <a:buFontTx/>
              </a:pPr>
              <a:endParaRPr lang="zh-CN" altLang="en-US" sz="2000" b="1" dirty="0">
                <a:solidFill>
                  <a:schemeClr val="bg1"/>
                </a:solidFill>
                <a:sym typeface="+mn-ea"/>
              </a:endParaRPr>
            </a:p>
          </p:txBody>
        </p:sp>
        <p:sp>
          <p:nvSpPr>
            <p:cNvPr id="41" name="文本框 40"/>
            <p:cNvSpPr txBox="1"/>
            <p:nvPr/>
          </p:nvSpPr>
          <p:spPr bwMode="auto">
            <a:xfrm>
              <a:off x="6133" y="6850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rgbClr val="F05A23"/>
                  </a:solidFill>
                  <a:latin typeface="Calibri" panose="020F0502020204030204" pitchFamily="34" charset="0"/>
                  <a:ea typeface="宋体" panose="02010600030101010101" pitchFamily="2" charset="-122"/>
                </a:rPr>
                <a:t>02</a:t>
              </a:r>
              <a:endParaRPr lang="en-US" altLang="zh-CN" b="1" dirty="0">
                <a:solidFill>
                  <a:srgbClr val="F05A23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70" name="组合 69"/>
          <p:cNvGrpSpPr/>
          <p:nvPr/>
        </p:nvGrpSpPr>
        <p:grpSpPr>
          <a:xfrm>
            <a:off x="7736205" y="4276725"/>
            <a:ext cx="833120" cy="1215390"/>
            <a:chOff x="11100" y="6700"/>
            <a:chExt cx="1312" cy="1914"/>
          </a:xfrm>
        </p:grpSpPr>
        <p:sp>
          <p:nvSpPr>
            <p:cNvPr id="42" name="椭圆 41"/>
            <p:cNvSpPr/>
            <p:nvPr/>
          </p:nvSpPr>
          <p:spPr>
            <a:xfrm>
              <a:off x="11614" y="8332"/>
              <a:ext cx="283" cy="283"/>
            </a:xfrm>
            <a:prstGeom prst="ellipse">
              <a:avLst/>
            </a:prstGeom>
            <a:solidFill>
              <a:schemeClr val="accent1"/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3" name="泪滴形 42"/>
            <p:cNvSpPr/>
            <p:nvPr/>
          </p:nvSpPr>
          <p:spPr>
            <a:xfrm rot="8100000">
              <a:off x="11100" y="6700"/>
              <a:ext cx="1312" cy="1312"/>
            </a:xfrm>
            <a:prstGeom prst="teardrop">
              <a:avLst/>
            </a:prstGeom>
            <a:solidFill>
              <a:schemeClr val="accent1">
                <a:alpha val="15000"/>
              </a:schemeClr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4" name="文本框 43"/>
            <p:cNvSpPr txBox="1"/>
            <p:nvPr/>
          </p:nvSpPr>
          <p:spPr bwMode="auto">
            <a:xfrm>
              <a:off x="11230" y="6850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chemeClr val="accent1"/>
                  </a:solidFill>
                  <a:latin typeface="Calibri" panose="020F0502020204030204" pitchFamily="34" charset="0"/>
                  <a:ea typeface="宋体" panose="02010600030101010101" pitchFamily="2" charset="-122"/>
                </a:rPr>
                <a:t>04</a:t>
              </a:r>
              <a:endParaRPr lang="en-US" altLang="zh-CN" b="1" dirty="0">
                <a:solidFill>
                  <a:schemeClr val="accent1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71" name="组合 70"/>
          <p:cNvGrpSpPr/>
          <p:nvPr/>
        </p:nvGrpSpPr>
        <p:grpSpPr>
          <a:xfrm>
            <a:off x="9799320" y="4276725"/>
            <a:ext cx="833120" cy="1215390"/>
            <a:chOff x="15432" y="6700"/>
            <a:chExt cx="1312" cy="1914"/>
          </a:xfrm>
        </p:grpSpPr>
        <p:sp>
          <p:nvSpPr>
            <p:cNvPr id="45" name="椭圆 44"/>
            <p:cNvSpPr/>
            <p:nvPr/>
          </p:nvSpPr>
          <p:spPr>
            <a:xfrm>
              <a:off x="15946" y="8332"/>
              <a:ext cx="283" cy="283"/>
            </a:xfrm>
            <a:prstGeom prst="ellipse">
              <a:avLst/>
            </a:prstGeom>
            <a:solidFill>
              <a:schemeClr val="accent1"/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6" name="泪滴形 45"/>
            <p:cNvSpPr/>
            <p:nvPr/>
          </p:nvSpPr>
          <p:spPr>
            <a:xfrm rot="8100000">
              <a:off x="15432" y="6700"/>
              <a:ext cx="1312" cy="1312"/>
            </a:xfrm>
            <a:prstGeom prst="teardrop">
              <a:avLst/>
            </a:prstGeom>
            <a:solidFill>
              <a:schemeClr val="accent1">
                <a:alpha val="15000"/>
              </a:schemeClr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文本框 46"/>
            <p:cNvSpPr txBox="1"/>
            <p:nvPr/>
          </p:nvSpPr>
          <p:spPr bwMode="auto">
            <a:xfrm>
              <a:off x="15562" y="6850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chemeClr val="accent1"/>
                  </a:solidFill>
                  <a:latin typeface="Calibri" panose="020F0502020204030204" pitchFamily="34" charset="0"/>
                  <a:ea typeface="宋体" panose="02010600030101010101" pitchFamily="2" charset="-122"/>
                </a:rPr>
                <a:t>05</a:t>
              </a:r>
              <a:endParaRPr lang="en-US" altLang="zh-CN" b="1" dirty="0">
                <a:solidFill>
                  <a:schemeClr val="accent1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66" name="组合 65"/>
          <p:cNvGrpSpPr/>
          <p:nvPr/>
        </p:nvGrpSpPr>
        <p:grpSpPr>
          <a:xfrm>
            <a:off x="5673090" y="4076700"/>
            <a:ext cx="833120" cy="1415415"/>
            <a:chOff x="8498" y="6435"/>
            <a:chExt cx="1312" cy="2229"/>
          </a:xfrm>
        </p:grpSpPr>
        <p:sp>
          <p:nvSpPr>
            <p:cNvPr id="48" name="文本框 47"/>
            <p:cNvSpPr txBox="1"/>
            <p:nvPr/>
          </p:nvSpPr>
          <p:spPr bwMode="auto">
            <a:xfrm>
              <a:off x="8628" y="6435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rgbClr val="FFFFFF"/>
                  </a:solidFill>
                  <a:latin typeface="Calibri" panose="020F0502020204030204" pitchFamily="34" charset="0"/>
                  <a:ea typeface="宋体" panose="02010600030101010101" pitchFamily="2" charset="-122"/>
                </a:rPr>
                <a:t>02</a:t>
              </a:r>
              <a:endPara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49" name="椭圆 48"/>
            <p:cNvSpPr/>
            <p:nvPr/>
          </p:nvSpPr>
          <p:spPr>
            <a:xfrm>
              <a:off x="9012" y="8382"/>
              <a:ext cx="283" cy="283"/>
            </a:xfrm>
            <a:prstGeom prst="ellipse">
              <a:avLst/>
            </a:prstGeom>
            <a:solidFill>
              <a:schemeClr val="accent1"/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泪滴形 49"/>
            <p:cNvSpPr/>
            <p:nvPr/>
          </p:nvSpPr>
          <p:spPr>
            <a:xfrm rot="8100000">
              <a:off x="8498" y="6750"/>
              <a:ext cx="1312" cy="1312"/>
            </a:xfrm>
            <a:prstGeom prst="teardrop">
              <a:avLst/>
            </a:prstGeom>
            <a:solidFill>
              <a:schemeClr val="accent1">
                <a:alpha val="15000"/>
              </a:schemeClr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/>
            </a:bodyPr>
            <a:p>
              <a:pPr lvl="0" algn="ctr" defTabSz="913765">
                <a:buClrTx/>
                <a:buSzTx/>
                <a:buFontTx/>
              </a:pPr>
              <a:endParaRPr lang="zh-CN" altLang="en-US" sz="2000" b="1" dirty="0">
                <a:solidFill>
                  <a:schemeClr val="bg1"/>
                </a:solidFill>
                <a:sym typeface="+mn-ea"/>
              </a:endParaRPr>
            </a:p>
          </p:txBody>
        </p:sp>
        <p:sp>
          <p:nvSpPr>
            <p:cNvPr id="64" name="文本框 63"/>
            <p:cNvSpPr txBox="1"/>
            <p:nvPr/>
          </p:nvSpPr>
          <p:spPr bwMode="auto">
            <a:xfrm>
              <a:off x="8628" y="6900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rgbClr val="F05A23"/>
                  </a:solidFill>
                  <a:latin typeface="Calibri" panose="020F0502020204030204" pitchFamily="34" charset="0"/>
                  <a:ea typeface="宋体" panose="02010600030101010101" pitchFamily="2" charset="-122"/>
                </a:rPr>
                <a:t>03</a:t>
              </a:r>
              <a:endParaRPr lang="en-US" altLang="zh-CN" b="1" dirty="0">
                <a:solidFill>
                  <a:srgbClr val="F05A23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05840" y="5523230"/>
            <a:ext cx="1850390" cy="67056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algn="ctr" fontAlgn="auto">
              <a:lnSpc>
                <a:spcPts val="2360"/>
              </a:lnSpc>
              <a:buNone/>
            </a:pPr>
            <a:r>
              <a:rPr lang="zh-CN" altLang="en-US" sz="1600" dirty="0" smtClean="0"/>
              <a:t>理赔欺诈</a:t>
            </a:r>
            <a:endParaRPr lang="zh-CN" altLang="en-US" sz="1600" dirty="0" smtClean="0"/>
          </a:p>
          <a:p>
            <a:pPr marL="106045" indent="0" algn="ctr" fontAlgn="auto">
              <a:lnSpc>
                <a:spcPts val="2360"/>
              </a:lnSpc>
              <a:buNone/>
            </a:pPr>
            <a:r>
              <a:rPr lang="zh-CN" altLang="en-US" sz="1600" dirty="0" smtClean="0"/>
              <a:t>欺诈量</a:t>
            </a:r>
            <a:r>
              <a:rPr lang="en-US" altLang="zh-CN" sz="1600" dirty="0" smtClean="0"/>
              <a:t>/</a:t>
            </a:r>
            <a:r>
              <a:rPr lang="zh-CN" altLang="en-US" sz="1600" dirty="0" smtClean="0">
                <a:sym typeface="+mn-ea"/>
              </a:rPr>
              <a:t>理赔量</a:t>
            </a:r>
            <a:endParaRPr lang="zh-CN" altLang="en-US" sz="1600" dirty="0" smtClean="0">
              <a:sym typeface="+mn-ea"/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3077210" y="5523230"/>
            <a:ext cx="1850390" cy="67056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核保欺诈</a:t>
            </a:r>
            <a:endParaRPr lang="zh-CN" altLang="en-US" sz="1600" dirty="0" smtClean="0"/>
          </a:p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欺诈量/</a:t>
            </a:r>
            <a:r>
              <a:rPr lang="zh-CN" altLang="en-US" sz="1600" dirty="0" smtClean="0">
                <a:sym typeface="+mn-ea"/>
              </a:rPr>
              <a:t>核保量</a:t>
            </a:r>
            <a:endParaRPr lang="zh-CN" altLang="en-US" sz="1600" dirty="0" smtClean="0">
              <a:sym typeface="+mn-ea"/>
            </a:endParaRPr>
          </a:p>
        </p:txBody>
      </p:sp>
      <p:sp>
        <p:nvSpPr>
          <p:cNvPr id="74" name="文本框 73"/>
          <p:cNvSpPr txBox="1"/>
          <p:nvPr/>
        </p:nvSpPr>
        <p:spPr>
          <a:xfrm>
            <a:off x="5148580" y="5523230"/>
            <a:ext cx="1850390" cy="67056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投诉</a:t>
            </a:r>
            <a:endParaRPr lang="zh-CN" altLang="en-US" sz="1600" dirty="0" smtClean="0"/>
          </a:p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投诉量/</a:t>
            </a:r>
            <a:r>
              <a:rPr lang="zh-CN" altLang="en-US" sz="1600" dirty="0" smtClean="0">
                <a:sym typeface="+mn-ea"/>
              </a:rPr>
              <a:t>投保量</a:t>
            </a:r>
            <a:endParaRPr lang="zh-CN" altLang="en-US" sz="1600" dirty="0" smtClean="0">
              <a:sym typeface="+mn-ea"/>
            </a:endParaRPr>
          </a:p>
        </p:txBody>
      </p:sp>
      <p:sp>
        <p:nvSpPr>
          <p:cNvPr id="75" name="文本框 74"/>
          <p:cNvSpPr txBox="1"/>
          <p:nvPr/>
        </p:nvSpPr>
        <p:spPr>
          <a:xfrm>
            <a:off x="7219950" y="5523230"/>
            <a:ext cx="1850390" cy="67056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保全冒办</a:t>
            </a:r>
            <a:endParaRPr lang="zh-CN" altLang="en-US" sz="1600" dirty="0" smtClean="0"/>
          </a:p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冒办量/</a:t>
            </a:r>
            <a:r>
              <a:rPr lang="zh-CN" altLang="en-US" sz="1600" dirty="0" smtClean="0">
                <a:sym typeface="+mn-ea"/>
              </a:rPr>
              <a:t>保全量</a:t>
            </a:r>
            <a:endParaRPr lang="zh-CN" altLang="en-US" sz="1600" dirty="0" smtClean="0">
              <a:sym typeface="+mn-ea"/>
            </a:endParaRPr>
          </a:p>
        </p:txBody>
      </p:sp>
      <p:sp>
        <p:nvSpPr>
          <p:cNvPr id="76" name="文本框 75"/>
          <p:cNvSpPr txBox="1"/>
          <p:nvPr/>
        </p:nvSpPr>
        <p:spPr>
          <a:xfrm>
            <a:off x="9291320" y="5523230"/>
            <a:ext cx="1850390" cy="67056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...</a:t>
            </a:r>
            <a:endParaRPr lang="zh-CN" altLang="en-US" sz="1600" dirty="0" smtClean="0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c3JWICArRGOUzWgcxeJV6g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P2g6F_FgQmWgvO7pRubLvQ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P2g6F_FgQmWgvO7pRubLvQ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EE4P_INTELLIGENT_ELEMENT" val="{Name}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omR7ZrdbSp6sj4BiaRrhMA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P2g6F_FgQmWgvO7pRubLvQ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EE4P_INTELLIGENT_ELEMENT" val="{Name}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EE4P_INTELLIGENT_ELEMENT" val="{Name}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EE4P_INTELLIGENT_ELEMENT" val="{Name}"/>
</p:tagLst>
</file>

<file path=ppt/tags/tag26.xml><?xml version="1.0" encoding="utf-8"?>
<p:tagLst xmlns:p="http://schemas.openxmlformats.org/presentationml/2006/main">
  <p:tag name="THINKCELLSHAPEDONOTDELETE" val="thinkcellActiveDocDoNotDelete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hinkcellActiveDocDoNotDelete"/>
</p:tagLst>
</file>

<file path=ppt/tags/tag29.xml><?xml version="1.0" encoding="utf-8"?>
<p:tagLst xmlns:p="http://schemas.openxmlformats.org/presentationml/2006/main">
  <p:tag name="THINKCELLSHAPEDONOTDELETE" val="tomR7ZrdbSp6sj4BiaRrhMA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hinkcellActiveDocDoNotDelete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EE4P_INTELLIGENT_ELEMENT" val="{Name}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EE4P_INTELLIGENT_ELEMENT" val="{Name}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EE4P_INTELLIGENT_ELEMENT" val="{Name}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hinkcellActiveDocDoNotDelete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c3JWICArRGOUzWgcxeJV6g"/>
</p:tagLst>
</file>

<file path=ppt/tags/tag40.xml><?xml version="1.0" encoding="utf-8"?>
<p:tagLst xmlns:p="http://schemas.openxmlformats.org/presentationml/2006/main">
  <p:tag name="THINKCELLSHAPEDONOTDELETE" val="tomR7ZrdbSp6sj4BiaRrhMA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P2g6F_FgQmWgvO7pRubLvQ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c3JWICArRGOUzWgcxeJV6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EE4P_INTELLIGENT_ELEMENT" val="{Name}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hinkcellActiveDocDoNotDelete"/>
</p:tagLst>
</file>

<file path=ppt/tags/tag49.xml><?xml version="1.0" encoding="utf-8"?>
<p:tagLst xmlns:p="http://schemas.openxmlformats.org/presentationml/2006/main">
  <p:tag name="THINKCELLSHAPEDONOTDELETE" val="tomR7ZrdbSp6sj4BiaRrhMA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hinkcellActiveDocDoNotDelete"/>
</p:tagLst>
</file>

<file path=ppt/tags/tag51.xml><?xml version="1.0" encoding="utf-8"?>
<p:tagLst xmlns:p="http://schemas.openxmlformats.org/presentationml/2006/main">
  <p:tag name="THINKCELLSHAPEDONOTDELETE" val="tP2g6F_FgQmWgvO7pRubLvQ"/>
</p:tagLst>
</file>

<file path=ppt/tags/tag52.xml><?xml version="1.0" encoding="utf-8"?>
<p:tagLst xmlns:p="http://schemas.openxmlformats.org/presentationml/2006/main">
  <p:tag name="THINKCELLSHAPEDONOTDELETE" val="thinkcellActiveDocDoNotDelete"/>
</p:tagLst>
</file>

<file path=ppt/tags/tag53.xml><?xml version="1.0" encoding="utf-8"?>
<p:tagLst xmlns:p="http://schemas.openxmlformats.org/presentationml/2006/main">
  <p:tag name="THINKCELLSHAPEDONOTDELETE" val="tc3JWICArRGOUzWgcxeJV6g"/>
</p:tagLst>
</file>

<file path=ppt/tags/tag54.xml><?xml version="1.0" encoding="utf-8"?>
<p:tagLst xmlns:p="http://schemas.openxmlformats.org/presentationml/2006/main">
  <p:tag name="THINKCELLSHAPEDONOTDELETE" val="thinkcellActiveDocDoNotDelete"/>
</p:tagLst>
</file>

<file path=ppt/tags/tag55.xml><?xml version="1.0" encoding="utf-8"?>
<p:tagLst xmlns:p="http://schemas.openxmlformats.org/presentationml/2006/main">
  <p:tag name="EE4P_INTELLIGENT_ELEMENT" val="{Name}"/>
</p:tagLst>
</file>

<file path=ppt/tags/tag56.xml><?xml version="1.0" encoding="utf-8"?>
<p:tagLst xmlns:p="http://schemas.openxmlformats.org/presentationml/2006/main">
  <p:tag name="THINKCELLSHAPEDONOTDELETE" val="thinkcellActiveDocDoNotDelete"/>
</p:tagLst>
</file>

<file path=ppt/tags/tag57.xml><?xml version="1.0" encoding="utf-8"?>
<p:tagLst xmlns:p="http://schemas.openxmlformats.org/presentationml/2006/main">
  <p:tag name="THINKCELLSHAPEDONOTDELETE" val="tomR7ZrdbSp6sj4BiaRrhMA"/>
</p:tagLst>
</file>

<file path=ppt/tags/tag58.xml><?xml version="1.0" encoding="utf-8"?>
<p:tagLst xmlns:p="http://schemas.openxmlformats.org/presentationml/2006/main">
  <p:tag name="PA" val="v4.1.3"/>
</p:tagLst>
</file>

<file path=ppt/tags/tag59.xml><?xml version="1.0" encoding="utf-8"?>
<p:tagLst xmlns:p="http://schemas.openxmlformats.org/presentationml/2006/main">
  <p:tag name="TABLE_ENDDRAG_ORIGIN_RECT" val="562*145"/>
  <p:tag name="TABLE_ENDDRAG_RECT" val="231*170*562*145"/>
</p:tagLst>
</file>

<file path=ppt/tags/tag6.xml><?xml version="1.0" encoding="utf-8"?>
<p:tagLst xmlns:p="http://schemas.openxmlformats.org/presentationml/2006/main">
  <p:tag name="EE4P_INTELLIGENT_ELEMENT" val="{Name}"/>
</p:tagLst>
</file>

<file path=ppt/tags/tag60.xml><?xml version="1.0" encoding="utf-8"?>
<p:tagLst xmlns:p="http://schemas.openxmlformats.org/presentationml/2006/main">
  <p:tag name="PA" val="v4.1.3"/>
</p:tagLst>
</file>

<file path=ppt/tags/tag61.xml><?xml version="1.0" encoding="utf-8"?>
<p:tagLst xmlns:p="http://schemas.openxmlformats.org/presentationml/2006/main">
  <p:tag name="PA" val="v4.1.3"/>
</p:tagLst>
</file>

<file path=ppt/tags/tag62.xml><?xml version="1.0" encoding="utf-8"?>
<p:tagLst xmlns:p="http://schemas.openxmlformats.org/presentationml/2006/main">
  <p:tag name="PA" val="v4.1.3"/>
</p:tagLst>
</file>

<file path=ppt/tags/tag63.xml><?xml version="1.0" encoding="utf-8"?>
<p:tagLst xmlns:p="http://schemas.openxmlformats.org/presentationml/2006/main">
  <p:tag name="PA" val="v4.1.3"/>
</p:tagLst>
</file>

<file path=ppt/tags/tag64.xml><?xml version="1.0" encoding="utf-8"?>
<p:tagLst xmlns:p="http://schemas.openxmlformats.org/presentationml/2006/main">
  <p:tag name="MH" val="20190519151247"/>
  <p:tag name="MH_LIBRARY" val="GRAPHIC"/>
  <p:tag name="MH_TYPE" val="Other"/>
  <p:tag name="MH_ORDER" val="1"/>
</p:tagLst>
</file>

<file path=ppt/tags/tag65.xml><?xml version="1.0" encoding="utf-8"?>
<p:tagLst xmlns:p="http://schemas.openxmlformats.org/presentationml/2006/main">
  <p:tag name="MH" val="20190519151247"/>
  <p:tag name="MH_LIBRARY" val="GRAPHIC"/>
  <p:tag name="MH_TYPE" val="Other"/>
  <p:tag name="MH_ORDER" val="2"/>
</p:tagLst>
</file>

<file path=ppt/tags/tag66.xml><?xml version="1.0" encoding="utf-8"?>
<p:tagLst xmlns:p="http://schemas.openxmlformats.org/presentationml/2006/main">
  <p:tag name="MH" val="20190519151247"/>
  <p:tag name="MH_LIBRARY" val="GRAPHIC"/>
  <p:tag name="MH_TYPE" val="Other"/>
  <p:tag name="MH_ORDER" val="3"/>
</p:tagLst>
</file>

<file path=ppt/tags/tag67.xml><?xml version="1.0" encoding="utf-8"?>
<p:tagLst xmlns:p="http://schemas.openxmlformats.org/presentationml/2006/main">
  <p:tag name="MH" val="20190519151247"/>
  <p:tag name="MH_LIBRARY" val="GRAPHIC"/>
  <p:tag name="MH_TYPE" val="Other"/>
  <p:tag name="MH_ORDER" val="4"/>
</p:tagLst>
</file>

<file path=ppt/tags/tag68.xml><?xml version="1.0" encoding="utf-8"?>
<p:tagLst xmlns:p="http://schemas.openxmlformats.org/presentationml/2006/main">
  <p:tag name="MH" val="20190519151247"/>
  <p:tag name="MH_LIBRARY" val="GRAPHIC"/>
  <p:tag name="MH_TYPE" val="Other"/>
  <p:tag name="MH_ORDER" val="5"/>
</p:tagLst>
</file>

<file path=ppt/tags/tag69.xml><?xml version="1.0" encoding="utf-8"?>
<p:tagLst xmlns:p="http://schemas.openxmlformats.org/presentationml/2006/main">
  <p:tag name="MH" val="20190519151247"/>
  <p:tag name="MH_LIBRARY" val="GRAPHIC"/>
  <p:tag name="MH_TYPE" val="Other"/>
  <p:tag name="MH_ORDER" val="6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70.xml><?xml version="1.0" encoding="utf-8"?>
<p:tagLst xmlns:p="http://schemas.openxmlformats.org/presentationml/2006/main">
  <p:tag name="MH" val="20190519151247"/>
  <p:tag name="MH_LIBRARY" val="GRAPHIC"/>
  <p:tag name="MH_TYPE" val="Other"/>
  <p:tag name="MH_ORDER" val="7"/>
</p:tagLst>
</file>

<file path=ppt/tags/tag71.xml><?xml version="1.0" encoding="utf-8"?>
<p:tagLst xmlns:p="http://schemas.openxmlformats.org/presentationml/2006/main">
  <p:tag name="MH" val="20190519151247"/>
  <p:tag name="MH_LIBRARY" val="GRAPHIC"/>
  <p:tag name="MH_TYPE" val="Other"/>
  <p:tag name="MH_ORDER" val="8"/>
</p:tagLst>
</file>

<file path=ppt/tags/tag72.xml><?xml version="1.0" encoding="utf-8"?>
<p:tagLst xmlns:p="http://schemas.openxmlformats.org/presentationml/2006/main">
  <p:tag name="MH" val="20190519151247"/>
  <p:tag name="MH_LIBRARY" val="GRAPHIC"/>
  <p:tag name="MH_TYPE" val="Other"/>
  <p:tag name="MH_ORDER" val="9"/>
</p:tagLst>
</file>

<file path=ppt/tags/tag73.xml><?xml version="1.0" encoding="utf-8"?>
<p:tagLst xmlns:p="http://schemas.openxmlformats.org/presentationml/2006/main">
  <p:tag name="MH" val="20190519151247"/>
  <p:tag name="MH_LIBRARY" val="GRAPHIC"/>
  <p:tag name="MH_TYPE" val="Other"/>
  <p:tag name="MH_ORDER" val="10"/>
</p:tagLst>
</file>

<file path=ppt/tags/tag74.xml><?xml version="1.0" encoding="utf-8"?>
<p:tagLst xmlns:p="http://schemas.openxmlformats.org/presentationml/2006/main">
  <p:tag name="MH" val="20190519151247"/>
  <p:tag name="MH_LIBRARY" val="GRAPHIC"/>
  <p:tag name="MH_TYPE" val="Other"/>
  <p:tag name="MH_ORDER" val="11"/>
</p:tagLst>
</file>

<file path=ppt/tags/tag75.xml><?xml version="1.0" encoding="utf-8"?>
<p:tagLst xmlns:p="http://schemas.openxmlformats.org/presentationml/2006/main">
  <p:tag name="MH" val="20190519151247"/>
  <p:tag name="MH_LIBRARY" val="GRAPHIC"/>
  <p:tag name="MH_TYPE" val="Other"/>
  <p:tag name="MH_ORDER" val="13"/>
</p:tagLst>
</file>

<file path=ppt/tags/tag76.xml><?xml version="1.0" encoding="utf-8"?>
<p:tagLst xmlns:p="http://schemas.openxmlformats.org/presentationml/2006/main">
  <p:tag name="MH" val="20190519151247"/>
  <p:tag name="MH_LIBRARY" val="GRAPHIC"/>
  <p:tag name="MH_TYPE" val="Other"/>
  <p:tag name="MH_ORDER" val="14"/>
</p:tagLst>
</file>

<file path=ppt/tags/tag77.xml><?xml version="1.0" encoding="utf-8"?>
<p:tagLst xmlns:p="http://schemas.openxmlformats.org/presentationml/2006/main">
  <p:tag name="MH" val="20190519151247"/>
  <p:tag name="MH_LIBRARY" val="GRAPHIC"/>
  <p:tag name="MH_TYPE" val="Other"/>
  <p:tag name="MH_ORDER" val="15"/>
</p:tagLst>
</file>

<file path=ppt/tags/tag78.xml><?xml version="1.0" encoding="utf-8"?>
<p:tagLst xmlns:p="http://schemas.openxmlformats.org/presentationml/2006/main">
  <p:tag name="MH" val="20190519151247"/>
  <p:tag name="MH_LIBRARY" val="GRAPHIC"/>
  <p:tag name="MH_TYPE" val="Other"/>
  <p:tag name="MH_ORDER" val="16"/>
</p:tagLst>
</file>

<file path=ppt/tags/tag79.xml><?xml version="1.0" encoding="utf-8"?>
<p:tagLst xmlns:p="http://schemas.openxmlformats.org/presentationml/2006/main">
  <p:tag name="MH" val="20190519151247"/>
  <p:tag name="MH_LIBRARY" val="GRAPHIC"/>
  <p:tag name="MH_TYPE" val="Other"/>
  <p:tag name="MH_ORDER" val="17"/>
</p:tagLst>
</file>

<file path=ppt/tags/tag8.xml><?xml version="1.0" encoding="utf-8"?>
<p:tagLst xmlns:p="http://schemas.openxmlformats.org/presentationml/2006/main">
  <p:tag name="THINKCELLSHAPEDONOTDELETE" val="tomR7ZrdbSp6sj4BiaRrhMA"/>
</p:tagLst>
</file>

<file path=ppt/tags/tag80.xml><?xml version="1.0" encoding="utf-8"?>
<p:tagLst xmlns:p="http://schemas.openxmlformats.org/presentationml/2006/main">
  <p:tag name="MH" val="20190519151247"/>
  <p:tag name="MH_LIBRARY" val="GRAPHIC"/>
  <p:tag name="MH_TYPE" val="Other"/>
  <p:tag name="MH_ORDER" val="18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主题5">
  <a:themeElements>
    <a:clrScheme name="2019机要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05A23"/>
      </a:accent1>
      <a:accent2>
        <a:srgbClr val="F05A23"/>
      </a:accent2>
      <a:accent3>
        <a:srgbClr val="FECEAF"/>
      </a:accent3>
      <a:accent4>
        <a:srgbClr val="FECEAF"/>
      </a:accent4>
      <a:accent5>
        <a:srgbClr val="7F7F7F"/>
      </a:accent5>
      <a:accent6>
        <a:srgbClr val="5B9BD5"/>
      </a:accent6>
      <a:hlink>
        <a:srgbClr val="0563C1"/>
      </a:hlink>
      <a:folHlink>
        <a:srgbClr val="954F72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grpFill/>
        <a:ln w="0">
          <a:noFill/>
          <a:prstDash val="solid"/>
          <a:round/>
        </a:ln>
      </a:spPr>
      <a:bodyPr vert="horz" wrap="square" lIns="91440" tIns="45720" rIns="91440" bIns="45720" numCol="1" anchor="t" anchorCtr="0" compatLnSpc="1"/>
      <a:lstStyle>
        <a:defPPr>
          <a:defRPr/>
        </a:defPPr>
      </a:lstStyle>
    </a:spDef>
    <a:lnDef>
      <a:spPr>
        <a:ln>
          <a:solidFill>
            <a:schemeClr val="bg1">
              <a:lumMod val="7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normAutofit/>
      </a:bodyPr>
      <a:lstStyle>
        <a:defPPr marL="285750" indent="-179705">
          <a:buFont typeface="Arial" panose="020B0604020202020204" pitchFamily="34" charset="0"/>
          <a:buChar char="•"/>
          <a:defRPr sz="1800" b="1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中国平安">
  <a:themeElements>
    <a:clrScheme name="自定义 2">
      <a:dk1>
        <a:srgbClr val="000000"/>
      </a:dk1>
      <a:lt1>
        <a:srgbClr val="FFFFFF"/>
      </a:lt1>
      <a:dk2>
        <a:srgbClr val="323232"/>
      </a:dk2>
      <a:lt2>
        <a:srgbClr val="E5DCD8"/>
      </a:lt2>
      <a:accent1>
        <a:srgbClr val="F25822"/>
      </a:accent1>
      <a:accent2>
        <a:srgbClr val="B19C7D"/>
      </a:accent2>
      <a:accent3>
        <a:srgbClr val="C02C04"/>
      </a:accent3>
      <a:accent4>
        <a:srgbClr val="7D5D50"/>
      </a:accent4>
      <a:accent5>
        <a:srgbClr val="B27D49"/>
      </a:accent5>
      <a:accent6>
        <a:srgbClr val="00713D"/>
      </a:accent6>
      <a:hlink>
        <a:srgbClr val="D35615"/>
      </a:hlink>
      <a:folHlink>
        <a:srgbClr val="B06A01"/>
      </a:folHlink>
    </a:clrScheme>
    <a:fontScheme name="自定义 1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lnSpc>
            <a:spcPct val="120000"/>
          </a:lnSpc>
          <a:defRPr kern="600" spc="160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主题5">
  <a:themeElements>
    <a:clrScheme name="平安橙">
      <a:dk1>
        <a:srgbClr val="000000"/>
      </a:dk1>
      <a:lt1>
        <a:srgbClr val="FFFFFF"/>
      </a:lt1>
      <a:dk2>
        <a:srgbClr val="F05A23"/>
      </a:dk2>
      <a:lt2>
        <a:srgbClr val="FFFFFF"/>
      </a:lt2>
      <a:accent1>
        <a:srgbClr val="F05A23"/>
      </a:accent1>
      <a:accent2>
        <a:srgbClr val="FE8637"/>
      </a:accent2>
      <a:accent3>
        <a:srgbClr val="FEB687"/>
      </a:accent3>
      <a:accent4>
        <a:srgbClr val="FECEAF"/>
      </a:accent4>
      <a:accent5>
        <a:srgbClr val="FEE6D7"/>
      </a:accent5>
      <a:accent6>
        <a:srgbClr val="ABABAB"/>
      </a:accent6>
      <a:hlink>
        <a:srgbClr val="FE8637"/>
      </a:hlink>
      <a:folHlink>
        <a:srgbClr val="7F7F7F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chemeClr val="accent1">
              <a:lumMod val="60000"/>
              <a:lumOff val="40000"/>
            </a:schemeClr>
          </a:solidFill>
          <a:prstDash val="solid"/>
          <a:miter lim="800000"/>
        </a:ln>
      </a:spPr>
      <a:bodyPr rot="0" spcFirstLastPara="0" vertOverflow="overflow" horzOverflow="overflow" vert="horz" wrap="square" lIns="36000" tIns="108000" rIns="36000" bIns="0" numCol="1" spcCol="0" rtlCol="0" fromWordArt="0" anchor="t" anchorCtr="0" forceAA="0" compatLnSpc="1">
        <a:noAutofit/>
      </a:bodyPr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ts val="0"/>
          </a:spcBef>
          <a:buClrTx/>
          <a:buSzTx/>
          <a:buFontTx/>
          <a:buNone/>
          <a:defRPr sz="1100" b="1" kern="0">
            <a:solidFill>
              <a:prstClr val="black"/>
            </a:solidFill>
            <a:latin typeface="Arial" panose="020B0604020202020204"/>
            <a:ea typeface="华文楷体" panose="02010600040101010101" pitchFamily="2" charset="-122"/>
            <a:sym typeface="Arial" panose="020B0604020202020204" pitchFamily="34" charset="0"/>
          </a:defRPr>
        </a:defPPr>
      </a:lstStyle>
    </a:spDef>
    <a:lnDef>
      <a:spPr>
        <a:ln>
          <a:solidFill>
            <a:schemeClr val="accent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90000" tIns="45720" rIns="91440" bIns="45720" rtlCol="0" anchor="ctr" anchorCtr="1">
        <a:spAutoFit/>
      </a:bodyPr>
      <a:lstStyle>
        <a:defPPr algn="l">
          <a:defRPr sz="1600" smtClean="0">
            <a:latin typeface="+mn-ea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ingAn 16:9">
  <a:themeElements>
    <a:clrScheme name="PingAn">
      <a:dk1>
        <a:sysClr val="windowText" lastClr="000000"/>
      </a:dk1>
      <a:lt1>
        <a:sysClr val="window" lastClr="FFFFFF"/>
      </a:lt1>
      <a:dk2>
        <a:srgbClr val="575F6D"/>
      </a:dk2>
      <a:lt2>
        <a:srgbClr val="E3E4E6"/>
      </a:lt2>
      <a:accent1>
        <a:srgbClr val="FE8637"/>
      </a:accent1>
      <a:accent2>
        <a:srgbClr val="B32C16"/>
      </a:accent2>
      <a:accent3>
        <a:srgbClr val="FFCC00"/>
      </a:accent3>
      <a:accent4>
        <a:srgbClr val="B96400"/>
      </a:accent4>
      <a:accent5>
        <a:srgbClr val="777C84"/>
      </a:accent5>
      <a:accent6>
        <a:srgbClr val="5B9BD5"/>
      </a:accent6>
      <a:hlink>
        <a:srgbClr val="7598D9"/>
      </a:hlink>
      <a:folHlink>
        <a:srgbClr val="3B435B"/>
      </a:folHlink>
    </a:clrScheme>
    <a:fontScheme name="Ping An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PingAn 16:9">
  <a:themeElements>
    <a:clrScheme name="PingAn">
      <a:dk1>
        <a:sysClr val="windowText" lastClr="000000"/>
      </a:dk1>
      <a:lt1>
        <a:sysClr val="window" lastClr="FFFFFF"/>
      </a:lt1>
      <a:dk2>
        <a:srgbClr val="575F6D"/>
      </a:dk2>
      <a:lt2>
        <a:srgbClr val="E3E4E6"/>
      </a:lt2>
      <a:accent1>
        <a:srgbClr val="FE8637"/>
      </a:accent1>
      <a:accent2>
        <a:srgbClr val="B32C16"/>
      </a:accent2>
      <a:accent3>
        <a:srgbClr val="FFCC00"/>
      </a:accent3>
      <a:accent4>
        <a:srgbClr val="B96400"/>
      </a:accent4>
      <a:accent5>
        <a:srgbClr val="777C84"/>
      </a:accent5>
      <a:accent6>
        <a:srgbClr val="5B9BD5"/>
      </a:accent6>
      <a:hlink>
        <a:srgbClr val="7598D9"/>
      </a:hlink>
      <a:folHlink>
        <a:srgbClr val="3B435B"/>
      </a:folHlink>
    </a:clrScheme>
    <a:fontScheme name="Ping An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主题5">
  <a:themeElements>
    <a:clrScheme name="2019机要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05A23"/>
      </a:accent1>
      <a:accent2>
        <a:srgbClr val="F05A23"/>
      </a:accent2>
      <a:accent3>
        <a:srgbClr val="FECEAF"/>
      </a:accent3>
      <a:accent4>
        <a:srgbClr val="FECEAF"/>
      </a:accent4>
      <a:accent5>
        <a:srgbClr val="7F7F7F"/>
      </a:accent5>
      <a:accent6>
        <a:srgbClr val="5B9BD5"/>
      </a:accent6>
      <a:hlink>
        <a:srgbClr val="0563C1"/>
      </a:hlink>
      <a:folHlink>
        <a:srgbClr val="954F72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>
            <a:lumMod val="40000"/>
            <a:lumOff val="60000"/>
          </a:schemeClr>
        </a:solidFill>
        <a:ln w="0">
          <a:noFill/>
          <a:prstDash val="solid"/>
          <a:round/>
        </a:ln>
      </a:spPr>
      <a:bodyPr vert="horz" wrap="square" lIns="91440" tIns="45720" rIns="91440" bIns="45720" numCol="1" rtlCol="0" anchor="t" anchorCtr="0" compatLnSpc="1"/>
      <a:lstStyle>
        <a:defPPr>
          <a:defRPr/>
        </a:defPPr>
      </a:lstStyle>
    </a:spDef>
    <a:lnDef>
      <a:spPr>
        <a:ln>
          <a:solidFill>
            <a:schemeClr val="bg1">
              <a:lumMod val="7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normAutofit/>
      </a:bodyPr>
      <a:lstStyle>
        <a:defPPr marL="285750" indent="-179705">
          <a:buFont typeface="Arial" panose="020B0604020202020204" pitchFamily="34" charset="0"/>
          <a:buChar char="•"/>
          <a:defRPr sz="1800" b="1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主题5">
  <a:themeElements>
    <a:clrScheme name="2019机要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05A23"/>
      </a:accent1>
      <a:accent2>
        <a:srgbClr val="F05A23"/>
      </a:accent2>
      <a:accent3>
        <a:srgbClr val="FECEAF"/>
      </a:accent3>
      <a:accent4>
        <a:srgbClr val="FECEAF"/>
      </a:accent4>
      <a:accent5>
        <a:srgbClr val="7F7F7F"/>
      </a:accent5>
      <a:accent6>
        <a:srgbClr val="5B9BD5"/>
      </a:accent6>
      <a:hlink>
        <a:srgbClr val="0563C1"/>
      </a:hlink>
      <a:folHlink>
        <a:srgbClr val="954F72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>
            <a:lumMod val="40000"/>
            <a:lumOff val="60000"/>
          </a:schemeClr>
        </a:solidFill>
        <a:ln w="0">
          <a:noFill/>
          <a:prstDash val="solid"/>
          <a:round/>
        </a:ln>
      </a:spPr>
      <a:bodyPr vert="horz" wrap="square" lIns="91440" tIns="45720" rIns="91440" bIns="45720" numCol="1" rtlCol="0" anchor="t" anchorCtr="0" compatLnSpc="1"/>
      <a:lstStyle>
        <a:defPPr>
          <a:defRPr/>
        </a:defPPr>
      </a:lstStyle>
    </a:spDef>
    <a:lnDef>
      <a:spPr>
        <a:ln>
          <a:solidFill>
            <a:schemeClr val="bg1">
              <a:lumMod val="7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normAutofit/>
      </a:bodyPr>
      <a:lstStyle>
        <a:defPPr marL="285750" indent="-179705">
          <a:buFont typeface="Arial" panose="020B0604020202020204" pitchFamily="34" charset="0"/>
          <a:buChar char="•"/>
          <a:defRPr sz="1800" b="1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个人工作总结</Template>
  <TotalTime>0</TotalTime>
  <Words>11129</Words>
  <Application>WPS 演示</Application>
  <PresentationFormat>宽屏</PresentationFormat>
  <Paragraphs>2584</Paragraphs>
  <Slides>48</Slides>
  <Notes>53</Notes>
  <HiddenSlides>0</HiddenSlides>
  <MMClips>0</MMClips>
  <ScaleCrop>false</ScaleCrop>
  <HeadingPairs>
    <vt:vector size="8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7</vt:i4>
      </vt:variant>
      <vt:variant>
        <vt:lpstr>嵌入 OLE 服务器</vt:lpstr>
      </vt:variant>
      <vt:variant>
        <vt:i4>34</vt:i4>
      </vt:variant>
      <vt:variant>
        <vt:lpstr>幻灯片标题</vt:lpstr>
      </vt:variant>
      <vt:variant>
        <vt:i4>48</vt:i4>
      </vt:variant>
    </vt:vector>
  </HeadingPairs>
  <TitlesOfParts>
    <vt:vector size="106" baseType="lpstr">
      <vt:lpstr>Arial</vt:lpstr>
      <vt:lpstr>宋体</vt:lpstr>
      <vt:lpstr>Wingdings</vt:lpstr>
      <vt:lpstr>华文楷体</vt:lpstr>
      <vt:lpstr>微软雅黑</vt:lpstr>
      <vt:lpstr>Arial</vt:lpstr>
      <vt:lpstr>等线</vt:lpstr>
      <vt:lpstr>Trebuchet MS</vt:lpstr>
      <vt:lpstr>Arial Unicode MS</vt:lpstr>
      <vt:lpstr>Impact</vt:lpstr>
      <vt:lpstr>Calibri</vt:lpstr>
      <vt:lpstr>楷体</vt:lpstr>
      <vt:lpstr>Wingdings 2</vt:lpstr>
      <vt:lpstr>Noto Sans S Chinese Regular</vt:lpstr>
      <vt:lpstr>Times New Roman</vt:lpstr>
      <vt:lpstr>Arial Unicode MS</vt:lpstr>
      <vt:lpstr>黑体</vt:lpstr>
      <vt:lpstr>1_主题5</vt:lpstr>
      <vt:lpstr>中国平安</vt:lpstr>
      <vt:lpstr>5_主题5</vt:lpstr>
      <vt:lpstr>PingAn 16:9</vt:lpstr>
      <vt:lpstr>1_PingAn 16:9</vt:lpstr>
      <vt:lpstr>2_主题5</vt:lpstr>
      <vt:lpstr>3_主题5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Equation.KSEE3</vt:lpstr>
      <vt:lpstr>Equation.KSEE3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PAI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indows 用户</dc:creator>
  <cp:lastModifiedBy>ZHANGYANGYAN749</cp:lastModifiedBy>
  <cp:revision>782</cp:revision>
  <cp:lastPrinted>2024-02-29T13:26:00Z</cp:lastPrinted>
  <dcterms:created xsi:type="dcterms:W3CDTF">2022-04-25T10:45:00Z</dcterms:created>
  <dcterms:modified xsi:type="dcterms:W3CDTF">2024-08-12T06:2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5450602A51F345299916C74D70BC9264</vt:lpwstr>
  </property>
  <property fmtid="{D5CDD505-2E9C-101B-9397-08002B2CF9AE}" pid="3" name="KSOProductBuildVer">
    <vt:lpwstr>2052-11.8.2.12287</vt:lpwstr>
  </property>
</Properties>
</file>